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4"/>
  </p:notesMasterIdLst>
  <p:handoutMasterIdLst>
    <p:handoutMasterId r:id="rId25"/>
  </p:handoutMasterIdLst>
  <p:sldIdLst>
    <p:sldId id="385" r:id="rId2"/>
    <p:sldId id="429" r:id="rId3"/>
    <p:sldId id="1246" r:id="rId4"/>
    <p:sldId id="1244" r:id="rId5"/>
    <p:sldId id="380" r:id="rId6"/>
    <p:sldId id="373" r:id="rId7"/>
    <p:sldId id="413" r:id="rId8"/>
    <p:sldId id="414" r:id="rId9"/>
    <p:sldId id="1247" r:id="rId10"/>
    <p:sldId id="415" r:id="rId11"/>
    <p:sldId id="416" r:id="rId12"/>
    <p:sldId id="419" r:id="rId13"/>
    <p:sldId id="420" r:id="rId14"/>
    <p:sldId id="421" r:id="rId15"/>
    <p:sldId id="422" r:id="rId16"/>
    <p:sldId id="424" r:id="rId17"/>
    <p:sldId id="426" r:id="rId18"/>
    <p:sldId id="423" r:id="rId19"/>
    <p:sldId id="425" r:id="rId20"/>
    <p:sldId id="427" r:id="rId21"/>
    <p:sldId id="428" r:id="rId22"/>
    <p:sldId id="405" r:id="rId23"/>
  </p:sldIdLst>
  <p:sldSz cx="9144000" cy="5143500" type="screen16x9"/>
  <p:notesSz cx="6797675" cy="9926638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90" userDrawn="1">
          <p15:clr>
            <a:srgbClr val="A4A3A4"/>
          </p15:clr>
        </p15:guide>
        <p15:guide id="2" pos="284" userDrawn="1">
          <p15:clr>
            <a:srgbClr val="A4A3A4"/>
          </p15:clr>
        </p15:guide>
        <p15:guide id="3" pos="2824" userDrawn="1">
          <p15:clr>
            <a:srgbClr val="A4A3A4"/>
          </p15:clr>
        </p15:guide>
        <p15:guide id="4" pos="2936" userDrawn="1">
          <p15:clr>
            <a:srgbClr val="A4A3A4"/>
          </p15:clr>
        </p15:guide>
        <p15:guide id="6" orient="horz" pos="781" userDrawn="1">
          <p15:clr>
            <a:srgbClr val="A4A3A4"/>
          </p15:clr>
        </p15:guide>
        <p15:guide id="7" pos="54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cker, Thomas" initials="BT" lastIdx="1" clrIdx="0">
    <p:extLst>
      <p:ext uri="{19B8F6BF-5375-455C-9EA6-DF929625EA0E}">
        <p15:presenceInfo xmlns:p15="http://schemas.microsoft.com/office/powerpoint/2012/main" userId="S::becker-t@arnsberg.ihk.de::751ca2a8-ddc0-4e36-8c8e-56041876805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BDC5D0"/>
    <a:srgbClr val="2671D4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68" autoAdjust="0"/>
    <p:restoredTop sz="84923" autoAdjust="0"/>
  </p:normalViewPr>
  <p:slideViewPr>
    <p:cSldViewPr snapToGrid="0" showGuides="1">
      <p:cViewPr varScale="1">
        <p:scale>
          <a:sx n="75" d="100"/>
          <a:sy n="75" d="100"/>
        </p:scale>
        <p:origin x="676" y="44"/>
      </p:cViewPr>
      <p:guideLst>
        <p:guide orient="horz" pos="2890"/>
        <p:guide pos="284"/>
        <p:guide pos="2824"/>
        <p:guide pos="2936"/>
        <p:guide orient="horz" pos="781"/>
        <p:guide pos="54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2964" y="33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DBFC116-0A75-42B5-A04E-F8BD0D6498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B0CF9B-D954-42B7-B17E-338E3FF69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7338C-558B-4699-B3FB-1110B8EA4586}" type="datetimeFigureOut">
              <a:rPr lang="de-DE" smtClean="0"/>
              <a:t>27.04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72FA-85CC-4596-9FF4-9ED4A04B2B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88BB88-0E94-40AD-91D8-222A3B335C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DA3FD-D6B2-4777-A342-E12BB081EB6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69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12F3CF-33A8-431F-AD91-991887D9CE92}" type="datetimeFigureOut">
              <a:rPr lang="en-US" smtClean="0"/>
              <a:t>4/27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9925" y="923925"/>
            <a:ext cx="5457825" cy="3070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625" y="4297189"/>
            <a:ext cx="6034426" cy="48065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F251E-0D5E-4CFD-ACCC-9623B92A1B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7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685800" rtl="0" eaLnBrk="1" latinLnBrk="0" hangingPunct="1"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764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7941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378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856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0348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6020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488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754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0390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7557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F251E-0D5E-4CFD-ACCC-9623B92A1BF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744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.xml"/><Relationship Id="rId7" Type="http://schemas.openxmlformats.org/officeDocument/2006/relationships/image" Target="../media/image6.jp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9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Bildplatzhalter 20">
            <a:extLst>
              <a:ext uri="{FF2B5EF4-FFF2-40B4-BE49-F238E27FC236}">
                <a16:creationId xmlns:a16="http://schemas.microsoft.com/office/drawing/2014/main" id="{02FC2C60-0773-4EB5-8A64-6BEF1E138B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144000" cy="3470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Durch Klicken auf das Symbol ein Bild einfügen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41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5A3ACC9-18FF-40A5-890D-49F66796A792}"/>
              </a:ext>
            </a:extLst>
          </p:cNvPr>
          <p:cNvSpPr/>
          <p:nvPr userDrawn="1"/>
        </p:nvSpPr>
        <p:spPr bwMode="gray">
          <a:xfrm>
            <a:off x="4260800" y="3469749"/>
            <a:ext cx="48832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60800" y="2202549"/>
            <a:ext cx="4881600" cy="1267200"/>
          </a:xfrm>
          <a:solidFill>
            <a:schemeClr val="accent1"/>
          </a:solidFill>
        </p:spPr>
        <p:txBody>
          <a:bodyPr lIns="360000" rIns="360000" anchor="ctr"/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0DDFBC0F-5C2D-4296-9BD2-08212B14804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646443" y="3469400"/>
            <a:ext cx="215995" cy="108000"/>
          </a:xfrm>
          <a:prstGeom prst="triangle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3366"/>
              </a:solidFill>
            </a:endParaRPr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4F18F73-76CF-4ED3-BEAC-EB99A8962E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9655" y="4226127"/>
            <a:ext cx="1152541" cy="576000"/>
            <a:chOff x="1516529" y="3634540"/>
            <a:chExt cx="1240583" cy="558000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11733E95-46A1-46E2-9AA9-A4C62E414E4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516529" y="3634540"/>
              <a:ext cx="1240583" cy="558000"/>
              <a:chOff x="7856281" y="172641"/>
              <a:chExt cx="930500" cy="418528"/>
            </a:xfrm>
          </p:grpSpPr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99B3543A-B6A4-41B5-ADA8-033838D615FB}"/>
                  </a:ext>
                </a:extLst>
              </p:cNvPr>
              <p:cNvSpPr/>
              <p:nvPr/>
            </p:nvSpPr>
            <p:spPr bwMode="gray">
              <a:xfrm>
                <a:off x="7856281" y="172641"/>
                <a:ext cx="513034" cy="418528"/>
              </a:xfrm>
              <a:custGeom>
                <a:avLst/>
                <a:gdLst>
                  <a:gd name="connsiteX0" fmla="*/ 418433 w 453901"/>
                  <a:gd name="connsiteY0" fmla="*/ 0 h 418528"/>
                  <a:gd name="connsiteX1" fmla="*/ 0 w 453901"/>
                  <a:gd name="connsiteY1" fmla="*/ 0 h 418528"/>
                  <a:gd name="connsiteX2" fmla="*/ 0 w 453901"/>
                  <a:gd name="connsiteY2" fmla="*/ 418529 h 418528"/>
                  <a:gd name="connsiteX3" fmla="*/ 418433 w 453901"/>
                  <a:gd name="connsiteY3" fmla="*/ 418529 h 418528"/>
                  <a:gd name="connsiteX4" fmla="*/ 418433 w 453901"/>
                  <a:gd name="connsiteY4" fmla="*/ 0 h 418528"/>
                  <a:gd name="connsiteX5" fmla="*/ 418433 w 453901"/>
                  <a:gd name="connsiteY5" fmla="*/ 0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901" h="418528">
                    <a:moveTo>
                      <a:pt x="418433" y="0"/>
                    </a:moveTo>
                    <a:lnTo>
                      <a:pt x="0" y="0"/>
                    </a:lnTo>
                    <a:lnTo>
                      <a:pt x="0" y="418529"/>
                    </a:lnTo>
                    <a:lnTo>
                      <a:pt x="418433" y="418529"/>
                    </a:lnTo>
                    <a:cubicBezTo>
                      <a:pt x="465677" y="283750"/>
                      <a:pt x="465773" y="134874"/>
                      <a:pt x="418433" y="0"/>
                    </a:cubicBezTo>
                    <a:lnTo>
                      <a:pt x="418433" y="0"/>
                    </a:lnTo>
                    <a:close/>
                  </a:path>
                </a:pathLst>
              </a:custGeom>
              <a:solidFill>
                <a:srgbClr val="CAD2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BC423CBD-1E8C-476F-9333-EBB67DBED8A7}"/>
                  </a:ext>
                </a:extLst>
              </p:cNvPr>
              <p:cNvSpPr/>
              <p:nvPr/>
            </p:nvSpPr>
            <p:spPr bwMode="gray">
              <a:xfrm>
                <a:off x="8322350" y="172641"/>
                <a:ext cx="464431" cy="418528"/>
              </a:xfrm>
              <a:custGeom>
                <a:avLst/>
                <a:gdLst>
                  <a:gd name="connsiteX0" fmla="*/ 418433 w 418433"/>
                  <a:gd name="connsiteY0" fmla="*/ 418529 h 418528"/>
                  <a:gd name="connsiteX1" fmla="*/ 0 w 418433"/>
                  <a:gd name="connsiteY1" fmla="*/ 418529 h 418528"/>
                  <a:gd name="connsiteX2" fmla="*/ 0 w 418433"/>
                  <a:gd name="connsiteY2" fmla="*/ 0 h 418528"/>
                  <a:gd name="connsiteX3" fmla="*/ 418433 w 418433"/>
                  <a:gd name="connsiteY3" fmla="*/ 0 h 418528"/>
                  <a:gd name="connsiteX4" fmla="*/ 418433 w 418433"/>
                  <a:gd name="connsiteY4" fmla="*/ 418529 h 418528"/>
                  <a:gd name="connsiteX5" fmla="*/ 418433 w 418433"/>
                  <a:gd name="connsiteY5" fmla="*/ 418529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8433" h="418528">
                    <a:moveTo>
                      <a:pt x="418433" y="418529"/>
                    </a:moveTo>
                    <a:lnTo>
                      <a:pt x="0" y="418529"/>
                    </a:lnTo>
                    <a:cubicBezTo>
                      <a:pt x="47244" y="283750"/>
                      <a:pt x="47339" y="134969"/>
                      <a:pt x="0" y="0"/>
                    </a:cubicBezTo>
                    <a:lnTo>
                      <a:pt x="418433" y="0"/>
                    </a:lnTo>
                    <a:lnTo>
                      <a:pt x="418433" y="418529"/>
                    </a:lnTo>
                    <a:lnTo>
                      <a:pt x="418433" y="4185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659CDCCE-3F3F-44F8-AD2D-DB5DD01F248F}"/>
                  </a:ext>
                </a:extLst>
              </p:cNvPr>
              <p:cNvSpPr/>
              <p:nvPr/>
            </p:nvSpPr>
            <p:spPr bwMode="gray">
              <a:xfrm>
                <a:off x="8595431" y="242549"/>
                <a:ext cx="117896" cy="139641"/>
              </a:xfrm>
              <a:custGeom>
                <a:avLst/>
                <a:gdLst>
                  <a:gd name="connsiteX0" fmla="*/ 109919 w 117896"/>
                  <a:gd name="connsiteY0" fmla="*/ 6863 h 139641"/>
                  <a:gd name="connsiteX1" fmla="*/ 109156 w 117896"/>
                  <a:gd name="connsiteY1" fmla="*/ 5 h 139641"/>
                  <a:gd name="connsiteX2" fmla="*/ 90488 w 117896"/>
                  <a:gd name="connsiteY2" fmla="*/ 5 h 139641"/>
                  <a:gd name="connsiteX3" fmla="*/ 78677 w 117896"/>
                  <a:gd name="connsiteY3" fmla="*/ 5720 h 139641"/>
                  <a:gd name="connsiteX4" fmla="*/ 26479 w 117896"/>
                  <a:gd name="connsiteY4" fmla="*/ 62298 h 139641"/>
                  <a:gd name="connsiteX5" fmla="*/ 26384 w 117896"/>
                  <a:gd name="connsiteY5" fmla="*/ 6958 h 139641"/>
                  <a:gd name="connsiteX6" fmla="*/ 19526 w 117896"/>
                  <a:gd name="connsiteY6" fmla="*/ 100 h 139641"/>
                  <a:gd name="connsiteX7" fmla="*/ 6858 w 117896"/>
                  <a:gd name="connsiteY7" fmla="*/ 100 h 139641"/>
                  <a:gd name="connsiteX8" fmla="*/ 0 w 117896"/>
                  <a:gd name="connsiteY8" fmla="*/ 6958 h 139641"/>
                  <a:gd name="connsiteX9" fmla="*/ 0 w 117896"/>
                  <a:gd name="connsiteY9" fmla="*/ 132783 h 139641"/>
                  <a:gd name="connsiteX10" fmla="*/ 6858 w 117896"/>
                  <a:gd name="connsiteY10" fmla="*/ 139641 h 139641"/>
                  <a:gd name="connsiteX11" fmla="*/ 19622 w 117896"/>
                  <a:gd name="connsiteY11" fmla="*/ 139641 h 139641"/>
                  <a:gd name="connsiteX12" fmla="*/ 26479 w 117896"/>
                  <a:gd name="connsiteY12" fmla="*/ 132783 h 139641"/>
                  <a:gd name="connsiteX13" fmla="*/ 26479 w 117896"/>
                  <a:gd name="connsiteY13" fmla="*/ 99922 h 139641"/>
                  <a:gd name="connsiteX14" fmla="*/ 49625 w 117896"/>
                  <a:gd name="connsiteY14" fmla="*/ 74871 h 139641"/>
                  <a:gd name="connsiteX15" fmla="*/ 85439 w 117896"/>
                  <a:gd name="connsiteY15" fmla="*/ 132783 h 139641"/>
                  <a:gd name="connsiteX16" fmla="*/ 94869 w 117896"/>
                  <a:gd name="connsiteY16" fmla="*/ 139641 h 139641"/>
                  <a:gd name="connsiteX17" fmla="*/ 114014 w 117896"/>
                  <a:gd name="connsiteY17" fmla="*/ 139641 h 139641"/>
                  <a:gd name="connsiteX18" fmla="*/ 116681 w 117896"/>
                  <a:gd name="connsiteY18" fmla="*/ 132783 h 139641"/>
                  <a:gd name="connsiteX19" fmla="*/ 67247 w 117896"/>
                  <a:gd name="connsiteY19" fmla="*/ 55154 h 139641"/>
                  <a:gd name="connsiteX20" fmla="*/ 109919 w 117896"/>
                  <a:gd name="connsiteY20" fmla="*/ 6863 h 139641"/>
                  <a:gd name="connsiteX21" fmla="*/ 109919 w 117896"/>
                  <a:gd name="connsiteY21" fmla="*/ 6863 h 13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7896" h="139641">
                    <a:moveTo>
                      <a:pt x="109919" y="6863"/>
                    </a:moveTo>
                    <a:cubicBezTo>
                      <a:pt x="113348" y="3053"/>
                      <a:pt x="112967" y="5"/>
                      <a:pt x="109156" y="5"/>
                    </a:cubicBezTo>
                    <a:lnTo>
                      <a:pt x="90488" y="5"/>
                    </a:lnTo>
                    <a:cubicBezTo>
                      <a:pt x="86677" y="5"/>
                      <a:pt x="84773" y="-376"/>
                      <a:pt x="78677" y="5720"/>
                    </a:cubicBezTo>
                    <a:lnTo>
                      <a:pt x="26479" y="62298"/>
                    </a:lnTo>
                    <a:lnTo>
                      <a:pt x="26384" y="6958"/>
                    </a:lnTo>
                    <a:cubicBezTo>
                      <a:pt x="26384" y="3148"/>
                      <a:pt x="23336" y="100"/>
                      <a:pt x="19526" y="100"/>
                    </a:cubicBezTo>
                    <a:lnTo>
                      <a:pt x="6858" y="100"/>
                    </a:lnTo>
                    <a:cubicBezTo>
                      <a:pt x="3048" y="100"/>
                      <a:pt x="0" y="3148"/>
                      <a:pt x="0" y="6958"/>
                    </a:cubicBezTo>
                    <a:lnTo>
                      <a:pt x="0" y="132783"/>
                    </a:lnTo>
                    <a:cubicBezTo>
                      <a:pt x="0" y="136593"/>
                      <a:pt x="3048" y="139641"/>
                      <a:pt x="6858" y="139641"/>
                    </a:cubicBezTo>
                    <a:lnTo>
                      <a:pt x="19622" y="139641"/>
                    </a:lnTo>
                    <a:cubicBezTo>
                      <a:pt x="23431" y="139641"/>
                      <a:pt x="26479" y="136593"/>
                      <a:pt x="26479" y="132783"/>
                    </a:cubicBezTo>
                    <a:lnTo>
                      <a:pt x="26479" y="99922"/>
                    </a:lnTo>
                    <a:lnTo>
                      <a:pt x="49625" y="74871"/>
                    </a:lnTo>
                    <a:lnTo>
                      <a:pt x="85439" y="132783"/>
                    </a:lnTo>
                    <a:cubicBezTo>
                      <a:pt x="87725" y="136593"/>
                      <a:pt x="91059" y="139641"/>
                      <a:pt x="94869" y="139641"/>
                    </a:cubicBezTo>
                    <a:lnTo>
                      <a:pt x="114014" y="139641"/>
                    </a:lnTo>
                    <a:cubicBezTo>
                      <a:pt x="117824" y="139641"/>
                      <a:pt x="119063" y="136593"/>
                      <a:pt x="116681" y="132783"/>
                    </a:cubicBezTo>
                    <a:lnTo>
                      <a:pt x="67247" y="55154"/>
                    </a:lnTo>
                    <a:lnTo>
                      <a:pt x="109919" y="6863"/>
                    </a:lnTo>
                    <a:lnTo>
                      <a:pt x="109919" y="686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3C2FF0D0-54A5-4723-A9C8-96E16DEFB5DC}"/>
                  </a:ext>
                </a:extLst>
              </p:cNvPr>
              <p:cNvSpPr/>
              <p:nvPr/>
            </p:nvSpPr>
            <p:spPr bwMode="gray">
              <a:xfrm>
                <a:off x="8399217" y="242459"/>
                <a:ext cx="27717" cy="139541"/>
              </a:xfrm>
              <a:custGeom>
                <a:avLst/>
                <a:gdLst>
                  <a:gd name="connsiteX0" fmla="*/ 0 w 27717"/>
                  <a:gd name="connsiteY0" fmla="*/ 132683 h 139541"/>
                  <a:gd name="connsiteX1" fmla="*/ 6858 w 27717"/>
                  <a:gd name="connsiteY1" fmla="*/ 139541 h 139541"/>
                  <a:gd name="connsiteX2" fmla="*/ 20765 w 27717"/>
                  <a:gd name="connsiteY2" fmla="*/ 139541 h 139541"/>
                  <a:gd name="connsiteX3" fmla="*/ 27623 w 27717"/>
                  <a:gd name="connsiteY3" fmla="*/ 132683 h 139541"/>
                  <a:gd name="connsiteX4" fmla="*/ 27718 w 27717"/>
                  <a:gd name="connsiteY4" fmla="*/ 6858 h 139541"/>
                  <a:gd name="connsiteX5" fmla="*/ 20860 w 27717"/>
                  <a:gd name="connsiteY5" fmla="*/ 0 h 139541"/>
                  <a:gd name="connsiteX6" fmla="*/ 6953 w 27717"/>
                  <a:gd name="connsiteY6" fmla="*/ 0 h 139541"/>
                  <a:gd name="connsiteX7" fmla="*/ 95 w 27717"/>
                  <a:gd name="connsiteY7" fmla="*/ 6858 h 139541"/>
                  <a:gd name="connsiteX8" fmla="*/ 0 w 27717"/>
                  <a:gd name="connsiteY8" fmla="*/ 132683 h 139541"/>
                  <a:gd name="connsiteX9" fmla="*/ 0 w 27717"/>
                  <a:gd name="connsiteY9" fmla="*/ 132683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717" h="139541">
                    <a:moveTo>
                      <a:pt x="0" y="132683"/>
                    </a:moveTo>
                    <a:cubicBezTo>
                      <a:pt x="0" y="136493"/>
                      <a:pt x="3048" y="139541"/>
                      <a:pt x="6858" y="139541"/>
                    </a:cubicBezTo>
                    <a:lnTo>
                      <a:pt x="20765" y="139541"/>
                    </a:lnTo>
                    <a:cubicBezTo>
                      <a:pt x="24575" y="139541"/>
                      <a:pt x="27623" y="136493"/>
                      <a:pt x="27623" y="132683"/>
                    </a:cubicBezTo>
                    <a:lnTo>
                      <a:pt x="27718" y="6858"/>
                    </a:lnTo>
                    <a:cubicBezTo>
                      <a:pt x="27718" y="3048"/>
                      <a:pt x="24670" y="0"/>
                      <a:pt x="20860" y="0"/>
                    </a:cubicBezTo>
                    <a:lnTo>
                      <a:pt x="6953" y="0"/>
                    </a:lnTo>
                    <a:cubicBezTo>
                      <a:pt x="3143" y="0"/>
                      <a:pt x="95" y="3048"/>
                      <a:pt x="95" y="6858"/>
                    </a:cubicBezTo>
                    <a:lnTo>
                      <a:pt x="0" y="132683"/>
                    </a:lnTo>
                    <a:lnTo>
                      <a:pt x="0" y="13268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6F9493E0-6BEF-43FB-ABBA-BBA5301FA945}"/>
                  </a:ext>
                </a:extLst>
              </p:cNvPr>
              <p:cNvSpPr/>
              <p:nvPr/>
            </p:nvSpPr>
            <p:spPr bwMode="gray">
              <a:xfrm>
                <a:off x="8455889" y="242554"/>
                <a:ext cx="110490" cy="139541"/>
              </a:xfrm>
              <a:custGeom>
                <a:avLst/>
                <a:gdLst>
                  <a:gd name="connsiteX0" fmla="*/ 82963 w 110490"/>
                  <a:gd name="connsiteY0" fmla="*/ 6858 h 139541"/>
                  <a:gd name="connsiteX1" fmla="*/ 89821 w 110490"/>
                  <a:gd name="connsiteY1" fmla="*/ 0 h 139541"/>
                  <a:gd name="connsiteX2" fmla="*/ 103632 w 110490"/>
                  <a:gd name="connsiteY2" fmla="*/ 0 h 139541"/>
                  <a:gd name="connsiteX3" fmla="*/ 110490 w 110490"/>
                  <a:gd name="connsiteY3" fmla="*/ 6858 h 139541"/>
                  <a:gd name="connsiteX4" fmla="*/ 110490 w 110490"/>
                  <a:gd name="connsiteY4" fmla="*/ 132683 h 139541"/>
                  <a:gd name="connsiteX5" fmla="*/ 103632 w 110490"/>
                  <a:gd name="connsiteY5" fmla="*/ 139541 h 139541"/>
                  <a:gd name="connsiteX6" fmla="*/ 89916 w 110490"/>
                  <a:gd name="connsiteY6" fmla="*/ 139541 h 139541"/>
                  <a:gd name="connsiteX7" fmla="*/ 83058 w 110490"/>
                  <a:gd name="connsiteY7" fmla="*/ 132683 h 139541"/>
                  <a:gd name="connsiteX8" fmla="*/ 82963 w 110490"/>
                  <a:gd name="connsiteY8" fmla="*/ 80867 h 139541"/>
                  <a:gd name="connsiteX9" fmla="*/ 27527 w 110490"/>
                  <a:gd name="connsiteY9" fmla="*/ 80867 h 139541"/>
                  <a:gd name="connsiteX10" fmla="*/ 27527 w 110490"/>
                  <a:gd name="connsiteY10" fmla="*/ 132683 h 139541"/>
                  <a:gd name="connsiteX11" fmla="*/ 20669 w 110490"/>
                  <a:gd name="connsiteY11" fmla="*/ 139541 h 139541"/>
                  <a:gd name="connsiteX12" fmla="*/ 6858 w 110490"/>
                  <a:gd name="connsiteY12" fmla="*/ 139541 h 139541"/>
                  <a:gd name="connsiteX13" fmla="*/ 0 w 110490"/>
                  <a:gd name="connsiteY13" fmla="*/ 132683 h 139541"/>
                  <a:gd name="connsiteX14" fmla="*/ 0 w 110490"/>
                  <a:gd name="connsiteY14" fmla="*/ 6858 h 139541"/>
                  <a:gd name="connsiteX15" fmla="*/ 6858 w 110490"/>
                  <a:gd name="connsiteY15" fmla="*/ 0 h 139541"/>
                  <a:gd name="connsiteX16" fmla="*/ 20669 w 110490"/>
                  <a:gd name="connsiteY16" fmla="*/ 0 h 139541"/>
                  <a:gd name="connsiteX17" fmla="*/ 27527 w 110490"/>
                  <a:gd name="connsiteY17" fmla="*/ 6858 h 139541"/>
                  <a:gd name="connsiteX18" fmla="*/ 27432 w 110490"/>
                  <a:gd name="connsiteY18" fmla="*/ 57436 h 139541"/>
                  <a:gd name="connsiteX19" fmla="*/ 82868 w 110490"/>
                  <a:gd name="connsiteY19" fmla="*/ 57436 h 139541"/>
                  <a:gd name="connsiteX20" fmla="*/ 82963 w 110490"/>
                  <a:gd name="connsiteY20" fmla="*/ 6858 h 139541"/>
                  <a:gd name="connsiteX21" fmla="*/ 82963 w 110490"/>
                  <a:gd name="connsiteY21" fmla="*/ 6858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490" h="139541">
                    <a:moveTo>
                      <a:pt x="82963" y="6858"/>
                    </a:moveTo>
                    <a:cubicBezTo>
                      <a:pt x="82963" y="3048"/>
                      <a:pt x="86011" y="0"/>
                      <a:pt x="89821" y="0"/>
                    </a:cubicBezTo>
                    <a:lnTo>
                      <a:pt x="103632" y="0"/>
                    </a:lnTo>
                    <a:cubicBezTo>
                      <a:pt x="107442" y="0"/>
                      <a:pt x="110490" y="3048"/>
                      <a:pt x="110490" y="6858"/>
                    </a:cubicBezTo>
                    <a:lnTo>
                      <a:pt x="110490" y="132683"/>
                    </a:lnTo>
                    <a:cubicBezTo>
                      <a:pt x="110490" y="136493"/>
                      <a:pt x="107442" y="139541"/>
                      <a:pt x="103632" y="139541"/>
                    </a:cubicBezTo>
                    <a:lnTo>
                      <a:pt x="89916" y="139541"/>
                    </a:lnTo>
                    <a:cubicBezTo>
                      <a:pt x="86106" y="139541"/>
                      <a:pt x="83058" y="136493"/>
                      <a:pt x="83058" y="132683"/>
                    </a:cubicBezTo>
                    <a:lnTo>
                      <a:pt x="82963" y="80867"/>
                    </a:lnTo>
                    <a:lnTo>
                      <a:pt x="27527" y="80867"/>
                    </a:lnTo>
                    <a:lnTo>
                      <a:pt x="27527" y="132683"/>
                    </a:lnTo>
                    <a:cubicBezTo>
                      <a:pt x="27527" y="136493"/>
                      <a:pt x="24479" y="139541"/>
                      <a:pt x="20669" y="139541"/>
                    </a:cubicBezTo>
                    <a:lnTo>
                      <a:pt x="6858" y="139541"/>
                    </a:lnTo>
                    <a:cubicBezTo>
                      <a:pt x="3048" y="139541"/>
                      <a:pt x="0" y="136493"/>
                      <a:pt x="0" y="132683"/>
                    </a:cubicBezTo>
                    <a:lnTo>
                      <a:pt x="0" y="6858"/>
                    </a:lnTo>
                    <a:cubicBezTo>
                      <a:pt x="0" y="3048"/>
                      <a:pt x="3048" y="0"/>
                      <a:pt x="6858" y="0"/>
                    </a:cubicBezTo>
                    <a:lnTo>
                      <a:pt x="20669" y="0"/>
                    </a:lnTo>
                    <a:cubicBezTo>
                      <a:pt x="24479" y="0"/>
                      <a:pt x="27527" y="3048"/>
                      <a:pt x="27527" y="6858"/>
                    </a:cubicBezTo>
                    <a:lnTo>
                      <a:pt x="27432" y="57436"/>
                    </a:lnTo>
                    <a:lnTo>
                      <a:pt x="82868" y="57436"/>
                    </a:lnTo>
                    <a:lnTo>
                      <a:pt x="82963" y="6858"/>
                    </a:lnTo>
                    <a:lnTo>
                      <a:pt x="82963" y="685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  <p:sp>
          <p:nvSpPr>
            <p:cNvPr id="62" name="Gleichschenkliges Dreieck 61">
              <a:extLst>
                <a:ext uri="{FF2B5EF4-FFF2-40B4-BE49-F238E27FC236}">
                  <a16:creationId xmlns:a16="http://schemas.microsoft.com/office/drawing/2014/main" id="{25C0FFF4-A423-4CE5-B225-16E09E079C54}"/>
                </a:ext>
              </a:extLst>
            </p:cNvPr>
            <p:cNvSpPr/>
            <p:nvPr/>
          </p:nvSpPr>
          <p:spPr>
            <a:xfrm rot="7860000">
              <a:off x="1856408" y="3738519"/>
              <a:ext cx="178430" cy="159486"/>
            </a:xfrm>
            <a:prstGeom prst="triangle">
              <a:avLst>
                <a:gd name="adj" fmla="val 5214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0D522C80-EFFD-4D90-BD4C-8CF54A398802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738913" y="3946194"/>
              <a:ext cx="195262" cy="199110"/>
            </a:xfrm>
            <a:prstGeom prst="line">
              <a:avLst/>
            </a:prstGeom>
            <a:ln w="19050" cap="sq">
              <a:solidFill>
                <a:srgbClr val="BDC5D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>
              <a:extLst>
                <a:ext uri="{FF2B5EF4-FFF2-40B4-BE49-F238E27FC236}">
                  <a16:creationId xmlns:a16="http://schemas.microsoft.com/office/drawing/2014/main" id="{E0A5E08B-BD0F-417B-A75D-C0905B748D1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24026" y="3706926"/>
              <a:ext cx="216000" cy="226800"/>
            </a:xfrm>
            <a:prstGeom prst="line">
              <a:avLst/>
            </a:prstGeom>
            <a:ln w="19050" cap="sq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Gleichschenkliges Dreieck 64">
              <a:extLst>
                <a:ext uri="{FF2B5EF4-FFF2-40B4-BE49-F238E27FC236}">
                  <a16:creationId xmlns:a16="http://schemas.microsoft.com/office/drawing/2014/main" id="{A7A5924D-B230-4F3A-81B0-5E3B97656F64}"/>
                </a:ext>
              </a:extLst>
            </p:cNvPr>
            <p:cNvSpPr/>
            <p:nvPr/>
          </p:nvSpPr>
          <p:spPr>
            <a:xfrm rot="2760000">
              <a:off x="1869700" y="3951490"/>
              <a:ext cx="160587" cy="177207"/>
            </a:xfrm>
            <a:prstGeom prst="triangle">
              <a:avLst>
                <a:gd name="adj" fmla="val 52148"/>
              </a:avLst>
            </a:prstGeom>
            <a:solidFill>
              <a:srgbClr val="BDC5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8" name="Grafik 47">
            <a:extLst>
              <a:ext uri="{FF2B5EF4-FFF2-40B4-BE49-F238E27FC236}">
                <a16:creationId xmlns:a16="http://schemas.microsoft.com/office/drawing/2014/main" id="{7280F952-718E-4601-93EA-76CEC48893E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629275" y="4585654"/>
            <a:ext cx="3063875" cy="251757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60800" y="3470098"/>
            <a:ext cx="4881600" cy="576000"/>
          </a:xfrm>
          <a:prstGeom prst="rect">
            <a:avLst/>
          </a:prstGeom>
          <a:noFill/>
          <a:ln>
            <a:noFill/>
          </a:ln>
        </p:spPr>
        <p:txBody>
          <a:bodyPr lIns="360000" rIns="360000" anchor="ctr"/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BB91870-8B6B-44F4-8C93-5C0E780D17F5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70EFADB4-016E-4B33-8790-11A56A804D9E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D11445A3-A2A6-465D-8B34-E48D48B6EACE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8B014DEC-98C7-4D2E-B7C6-A47F68BDD78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7AB73926-F427-4847-9278-464B8C8BB1DB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00DAE0A-F534-47E4-A20A-6BD935B71D46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3C192E67-7316-4136-966F-586B6DA2DB9F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B277B64-1C27-4058-BB9D-4B3D2B398C05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50575BB-94E5-45C5-BA35-F45DCF30DB62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D8CD6AC-C476-4082-8F25-D99CE3E1542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1F9DF423-1598-4D30-BB68-13B4B661B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0DEFE313-F36A-483C-A7D0-4313F247F2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BFAB5E2B-8E39-44E7-B19A-33ED8081761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172AFAAB-2EAD-4C71-B14D-F2470FC173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F4665723-F552-42C4-B9B4-165AAA3C8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572440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orient="horz" pos="17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05C49E-E9FD-46E2-8756-33664CCDF4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650851" y="1239838"/>
            <a:ext cx="4033838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63A2FD1-F367-4B44-A86A-99FB798503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0901" y="1248791"/>
            <a:ext cx="4032249" cy="334803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7576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05C49E-E9FD-46E2-8756-33664CCDF4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9263" y="1239837"/>
            <a:ext cx="4033838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63A2FD1-F367-4B44-A86A-99FB798503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60900" y="1239837"/>
            <a:ext cx="4032249" cy="334803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95153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05C49E-E9FD-46E2-8756-33664CCDF4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9263" y="1239837"/>
            <a:ext cx="4033838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63A2FD1-F367-4B44-A86A-99FB798503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60900" y="1239837"/>
            <a:ext cx="4032249" cy="1584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EFDA5DD0-745C-4CEC-8487-C3634F4401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60899" y="3003874"/>
            <a:ext cx="4032249" cy="1584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0863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05C49E-E9FD-46E2-8756-33664CCDF4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9263" y="1239837"/>
            <a:ext cx="4033838" cy="1584000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63A2FD1-F367-4B44-A86A-99FB798503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0852" y="3003874"/>
            <a:ext cx="4032249" cy="1584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EFDA5DD0-745C-4CEC-8487-C3634F4401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60899" y="3003874"/>
            <a:ext cx="4032249" cy="1584000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C85BFC48-CCC7-41E6-8A87-BC7CA41D3EC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60900" y="1239837"/>
            <a:ext cx="4033838" cy="1584000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663146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in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63A2FD1-F367-4B44-A86A-99FB798503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0851" y="1239837"/>
            <a:ext cx="8242299" cy="3348037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15072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aussage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05C49E-E9FD-46E2-8756-33664CCDF4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9263" y="1812302"/>
            <a:ext cx="4033838" cy="2772000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E51419DF-7BDC-40C1-9FF4-E7AD6D4A6D2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9312" y="1812302"/>
            <a:ext cx="4033838" cy="2772000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9582D3A-3B9A-4240-8C93-906C755476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239838"/>
            <a:ext cx="8243887" cy="432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ernaussage bearbeiten</a:t>
            </a: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59ECFA64-6190-4444-8A03-9F410890E8FD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843440" y="1671179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486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rnaussage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05C49E-E9FD-46E2-8756-33664CCDF4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9263" y="1812302"/>
            <a:ext cx="8243886" cy="2772000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9582D3A-3B9A-4240-8C93-906C755476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239838"/>
            <a:ext cx="8243887" cy="432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ernaussage bearbeiten</a:t>
            </a: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59ECFA64-6190-4444-8A03-9F410890E8FD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843440" y="1671179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992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05C49E-E9FD-46E2-8756-33664CCDF4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9264" y="1261556"/>
            <a:ext cx="8243886" cy="2772000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9582D3A-3B9A-4240-8C93-906C755476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4152302"/>
            <a:ext cx="8243887" cy="432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ernaussage bearbeiten</a:t>
            </a: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59ECFA64-6190-4444-8A03-9F410890E8FD}"/>
              </a:ext>
            </a:extLst>
          </p:cNvPr>
          <p:cNvSpPr>
            <a:spLocks noChangeAspect="1"/>
          </p:cNvSpPr>
          <p:nvPr userDrawn="1"/>
        </p:nvSpPr>
        <p:spPr>
          <a:xfrm>
            <a:off x="843440" y="4045348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1046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Text  – 1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A30697-40CF-4578-9576-8358C12E53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8936" y="1239838"/>
            <a:ext cx="2628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C2F48DA-D5CA-4D32-AB60-ADAAB69E76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58000" y="1239837"/>
            <a:ext cx="2628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405F289A-B18A-43D2-A8FC-25F5D0D680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65150" y="1239838"/>
            <a:ext cx="2628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3292298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Text  – 2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A30697-40CF-4578-9576-8358C12E53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8936" y="1239838"/>
            <a:ext cx="2628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C2F48DA-D5CA-4D32-AB60-ADAAB69E76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58000" y="1239837"/>
            <a:ext cx="2628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405F289A-B18A-43D2-A8FC-25F5D0D680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65150" y="1239838"/>
            <a:ext cx="2628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180182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IH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Bildplatzhalter 15">
            <a:extLst>
              <a:ext uri="{FF2B5EF4-FFF2-40B4-BE49-F238E27FC236}">
                <a16:creationId xmlns:a16="http://schemas.microsoft.com/office/drawing/2014/main" id="{E820C6C8-8580-4EE2-BE20-0CF15F5663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61" b="29199"/>
          <a:stretch/>
        </p:blipFill>
        <p:spPr bwMode="gray">
          <a:xfrm>
            <a:off x="0" y="0"/>
            <a:ext cx="9144000" cy="34702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277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5A3ACC9-18FF-40A5-890D-49F66796A792}"/>
              </a:ext>
            </a:extLst>
          </p:cNvPr>
          <p:cNvSpPr/>
          <p:nvPr userDrawn="1"/>
        </p:nvSpPr>
        <p:spPr bwMode="gray">
          <a:xfrm>
            <a:off x="4260800" y="3469749"/>
            <a:ext cx="48832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60800" y="2202549"/>
            <a:ext cx="4881600" cy="1267200"/>
          </a:xfrm>
          <a:solidFill>
            <a:schemeClr val="accent1"/>
          </a:solidFill>
        </p:spPr>
        <p:txBody>
          <a:bodyPr lIns="360000" rIns="360000" anchor="ctr"/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0DDFBC0F-5C2D-4296-9BD2-08212B14804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646443" y="3469400"/>
            <a:ext cx="215995" cy="108000"/>
          </a:xfrm>
          <a:prstGeom prst="triangle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3366"/>
              </a:solidFill>
            </a:endParaRPr>
          </a:p>
        </p:txBody>
      </p:sp>
      <p:pic>
        <p:nvPicPr>
          <p:cNvPr id="48" name="Grafik 47">
            <a:extLst>
              <a:ext uri="{FF2B5EF4-FFF2-40B4-BE49-F238E27FC236}">
                <a16:creationId xmlns:a16="http://schemas.microsoft.com/office/drawing/2014/main" id="{7280F952-718E-4601-93EA-76CEC48893E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629275" y="4585654"/>
            <a:ext cx="3063875" cy="251757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60800" y="3470098"/>
            <a:ext cx="4881600" cy="576000"/>
          </a:xfrm>
          <a:prstGeom prst="rect">
            <a:avLst/>
          </a:prstGeom>
          <a:noFill/>
          <a:ln>
            <a:noFill/>
          </a:ln>
        </p:spPr>
        <p:txBody>
          <a:bodyPr lIns="360000" rIns="360000" anchor="ctr"/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BB91870-8B6B-44F4-8C93-5C0E780D17F5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70EFADB4-016E-4B33-8790-11A56A804D9E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D11445A3-A2A6-465D-8B34-E48D48B6EACE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8B014DEC-98C7-4D2E-B7C6-A47F68BDD78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7AB73926-F427-4847-9278-464B8C8BB1DB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00DAE0A-F534-47E4-A20A-6BD935B71D46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3C192E67-7316-4136-966F-586B6DA2DB9F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B277B64-1C27-4058-BB9D-4B3D2B398C05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50575BB-94E5-45C5-BA35-F45DCF30DB62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D8CD6AC-C476-4082-8F25-D99CE3E1542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1F9DF423-1598-4D30-BB68-13B4B661B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0DEFE313-F36A-483C-A7D0-4313F247F2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BFAB5E2B-8E39-44E7-B19A-33ED8081761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172AFAAB-2EAD-4C71-B14D-F2470FC173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F4665723-F552-42C4-B9B4-165AAA3C8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FFF3C43D-3207-4E7D-A2FB-9133E049E80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9655" y="4226127"/>
            <a:ext cx="1152541" cy="576000"/>
            <a:chOff x="1516529" y="3634540"/>
            <a:chExt cx="1240583" cy="558000"/>
          </a:xfrm>
        </p:grpSpPr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5D50FB1F-F1C3-4A55-B66E-1F179519A3E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516529" y="3634540"/>
              <a:ext cx="1240583" cy="558000"/>
              <a:chOff x="7856281" y="172641"/>
              <a:chExt cx="930500" cy="418528"/>
            </a:xfrm>
          </p:grpSpPr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D1C36433-78DF-4701-9415-FA9AD7F5BFE1}"/>
                  </a:ext>
                </a:extLst>
              </p:cNvPr>
              <p:cNvSpPr/>
              <p:nvPr/>
            </p:nvSpPr>
            <p:spPr bwMode="gray">
              <a:xfrm>
                <a:off x="7856281" y="172641"/>
                <a:ext cx="513034" cy="418528"/>
              </a:xfrm>
              <a:custGeom>
                <a:avLst/>
                <a:gdLst>
                  <a:gd name="connsiteX0" fmla="*/ 418433 w 453901"/>
                  <a:gd name="connsiteY0" fmla="*/ 0 h 418528"/>
                  <a:gd name="connsiteX1" fmla="*/ 0 w 453901"/>
                  <a:gd name="connsiteY1" fmla="*/ 0 h 418528"/>
                  <a:gd name="connsiteX2" fmla="*/ 0 w 453901"/>
                  <a:gd name="connsiteY2" fmla="*/ 418529 h 418528"/>
                  <a:gd name="connsiteX3" fmla="*/ 418433 w 453901"/>
                  <a:gd name="connsiteY3" fmla="*/ 418529 h 418528"/>
                  <a:gd name="connsiteX4" fmla="*/ 418433 w 453901"/>
                  <a:gd name="connsiteY4" fmla="*/ 0 h 418528"/>
                  <a:gd name="connsiteX5" fmla="*/ 418433 w 453901"/>
                  <a:gd name="connsiteY5" fmla="*/ 0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901" h="418528">
                    <a:moveTo>
                      <a:pt x="418433" y="0"/>
                    </a:moveTo>
                    <a:lnTo>
                      <a:pt x="0" y="0"/>
                    </a:lnTo>
                    <a:lnTo>
                      <a:pt x="0" y="418529"/>
                    </a:lnTo>
                    <a:lnTo>
                      <a:pt x="418433" y="418529"/>
                    </a:lnTo>
                    <a:cubicBezTo>
                      <a:pt x="465677" y="283750"/>
                      <a:pt x="465773" y="134874"/>
                      <a:pt x="418433" y="0"/>
                    </a:cubicBezTo>
                    <a:lnTo>
                      <a:pt x="418433" y="0"/>
                    </a:lnTo>
                    <a:close/>
                  </a:path>
                </a:pathLst>
              </a:custGeom>
              <a:solidFill>
                <a:srgbClr val="CAD2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C89D455A-B4AE-4958-AA90-94BD5A8210DC}"/>
                  </a:ext>
                </a:extLst>
              </p:cNvPr>
              <p:cNvSpPr/>
              <p:nvPr/>
            </p:nvSpPr>
            <p:spPr bwMode="gray">
              <a:xfrm>
                <a:off x="8322350" y="172641"/>
                <a:ext cx="464431" cy="418528"/>
              </a:xfrm>
              <a:custGeom>
                <a:avLst/>
                <a:gdLst>
                  <a:gd name="connsiteX0" fmla="*/ 418433 w 418433"/>
                  <a:gd name="connsiteY0" fmla="*/ 418529 h 418528"/>
                  <a:gd name="connsiteX1" fmla="*/ 0 w 418433"/>
                  <a:gd name="connsiteY1" fmla="*/ 418529 h 418528"/>
                  <a:gd name="connsiteX2" fmla="*/ 0 w 418433"/>
                  <a:gd name="connsiteY2" fmla="*/ 0 h 418528"/>
                  <a:gd name="connsiteX3" fmla="*/ 418433 w 418433"/>
                  <a:gd name="connsiteY3" fmla="*/ 0 h 418528"/>
                  <a:gd name="connsiteX4" fmla="*/ 418433 w 418433"/>
                  <a:gd name="connsiteY4" fmla="*/ 418529 h 418528"/>
                  <a:gd name="connsiteX5" fmla="*/ 418433 w 418433"/>
                  <a:gd name="connsiteY5" fmla="*/ 418529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8433" h="418528">
                    <a:moveTo>
                      <a:pt x="418433" y="418529"/>
                    </a:moveTo>
                    <a:lnTo>
                      <a:pt x="0" y="418529"/>
                    </a:lnTo>
                    <a:cubicBezTo>
                      <a:pt x="47244" y="283750"/>
                      <a:pt x="47339" y="134969"/>
                      <a:pt x="0" y="0"/>
                    </a:cubicBezTo>
                    <a:lnTo>
                      <a:pt x="418433" y="0"/>
                    </a:lnTo>
                    <a:lnTo>
                      <a:pt x="418433" y="418529"/>
                    </a:lnTo>
                    <a:lnTo>
                      <a:pt x="418433" y="4185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FEC19960-364F-4AFC-8769-F02668D6F9DE}"/>
                  </a:ext>
                </a:extLst>
              </p:cNvPr>
              <p:cNvSpPr/>
              <p:nvPr/>
            </p:nvSpPr>
            <p:spPr bwMode="gray">
              <a:xfrm>
                <a:off x="8595431" y="242549"/>
                <a:ext cx="117896" cy="139641"/>
              </a:xfrm>
              <a:custGeom>
                <a:avLst/>
                <a:gdLst>
                  <a:gd name="connsiteX0" fmla="*/ 109919 w 117896"/>
                  <a:gd name="connsiteY0" fmla="*/ 6863 h 139641"/>
                  <a:gd name="connsiteX1" fmla="*/ 109156 w 117896"/>
                  <a:gd name="connsiteY1" fmla="*/ 5 h 139641"/>
                  <a:gd name="connsiteX2" fmla="*/ 90488 w 117896"/>
                  <a:gd name="connsiteY2" fmla="*/ 5 h 139641"/>
                  <a:gd name="connsiteX3" fmla="*/ 78677 w 117896"/>
                  <a:gd name="connsiteY3" fmla="*/ 5720 h 139641"/>
                  <a:gd name="connsiteX4" fmla="*/ 26479 w 117896"/>
                  <a:gd name="connsiteY4" fmla="*/ 62298 h 139641"/>
                  <a:gd name="connsiteX5" fmla="*/ 26384 w 117896"/>
                  <a:gd name="connsiteY5" fmla="*/ 6958 h 139641"/>
                  <a:gd name="connsiteX6" fmla="*/ 19526 w 117896"/>
                  <a:gd name="connsiteY6" fmla="*/ 100 h 139641"/>
                  <a:gd name="connsiteX7" fmla="*/ 6858 w 117896"/>
                  <a:gd name="connsiteY7" fmla="*/ 100 h 139641"/>
                  <a:gd name="connsiteX8" fmla="*/ 0 w 117896"/>
                  <a:gd name="connsiteY8" fmla="*/ 6958 h 139641"/>
                  <a:gd name="connsiteX9" fmla="*/ 0 w 117896"/>
                  <a:gd name="connsiteY9" fmla="*/ 132783 h 139641"/>
                  <a:gd name="connsiteX10" fmla="*/ 6858 w 117896"/>
                  <a:gd name="connsiteY10" fmla="*/ 139641 h 139641"/>
                  <a:gd name="connsiteX11" fmla="*/ 19622 w 117896"/>
                  <a:gd name="connsiteY11" fmla="*/ 139641 h 139641"/>
                  <a:gd name="connsiteX12" fmla="*/ 26479 w 117896"/>
                  <a:gd name="connsiteY12" fmla="*/ 132783 h 139641"/>
                  <a:gd name="connsiteX13" fmla="*/ 26479 w 117896"/>
                  <a:gd name="connsiteY13" fmla="*/ 99922 h 139641"/>
                  <a:gd name="connsiteX14" fmla="*/ 49625 w 117896"/>
                  <a:gd name="connsiteY14" fmla="*/ 74871 h 139641"/>
                  <a:gd name="connsiteX15" fmla="*/ 85439 w 117896"/>
                  <a:gd name="connsiteY15" fmla="*/ 132783 h 139641"/>
                  <a:gd name="connsiteX16" fmla="*/ 94869 w 117896"/>
                  <a:gd name="connsiteY16" fmla="*/ 139641 h 139641"/>
                  <a:gd name="connsiteX17" fmla="*/ 114014 w 117896"/>
                  <a:gd name="connsiteY17" fmla="*/ 139641 h 139641"/>
                  <a:gd name="connsiteX18" fmla="*/ 116681 w 117896"/>
                  <a:gd name="connsiteY18" fmla="*/ 132783 h 139641"/>
                  <a:gd name="connsiteX19" fmla="*/ 67247 w 117896"/>
                  <a:gd name="connsiteY19" fmla="*/ 55154 h 139641"/>
                  <a:gd name="connsiteX20" fmla="*/ 109919 w 117896"/>
                  <a:gd name="connsiteY20" fmla="*/ 6863 h 139641"/>
                  <a:gd name="connsiteX21" fmla="*/ 109919 w 117896"/>
                  <a:gd name="connsiteY21" fmla="*/ 6863 h 13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7896" h="139641">
                    <a:moveTo>
                      <a:pt x="109919" y="6863"/>
                    </a:moveTo>
                    <a:cubicBezTo>
                      <a:pt x="113348" y="3053"/>
                      <a:pt x="112967" y="5"/>
                      <a:pt x="109156" y="5"/>
                    </a:cubicBezTo>
                    <a:lnTo>
                      <a:pt x="90488" y="5"/>
                    </a:lnTo>
                    <a:cubicBezTo>
                      <a:pt x="86677" y="5"/>
                      <a:pt x="84773" y="-376"/>
                      <a:pt x="78677" y="5720"/>
                    </a:cubicBezTo>
                    <a:lnTo>
                      <a:pt x="26479" y="62298"/>
                    </a:lnTo>
                    <a:lnTo>
                      <a:pt x="26384" y="6958"/>
                    </a:lnTo>
                    <a:cubicBezTo>
                      <a:pt x="26384" y="3148"/>
                      <a:pt x="23336" y="100"/>
                      <a:pt x="19526" y="100"/>
                    </a:cubicBezTo>
                    <a:lnTo>
                      <a:pt x="6858" y="100"/>
                    </a:lnTo>
                    <a:cubicBezTo>
                      <a:pt x="3048" y="100"/>
                      <a:pt x="0" y="3148"/>
                      <a:pt x="0" y="6958"/>
                    </a:cubicBezTo>
                    <a:lnTo>
                      <a:pt x="0" y="132783"/>
                    </a:lnTo>
                    <a:cubicBezTo>
                      <a:pt x="0" y="136593"/>
                      <a:pt x="3048" y="139641"/>
                      <a:pt x="6858" y="139641"/>
                    </a:cubicBezTo>
                    <a:lnTo>
                      <a:pt x="19622" y="139641"/>
                    </a:lnTo>
                    <a:cubicBezTo>
                      <a:pt x="23431" y="139641"/>
                      <a:pt x="26479" y="136593"/>
                      <a:pt x="26479" y="132783"/>
                    </a:cubicBezTo>
                    <a:lnTo>
                      <a:pt x="26479" y="99922"/>
                    </a:lnTo>
                    <a:lnTo>
                      <a:pt x="49625" y="74871"/>
                    </a:lnTo>
                    <a:lnTo>
                      <a:pt x="85439" y="132783"/>
                    </a:lnTo>
                    <a:cubicBezTo>
                      <a:pt x="87725" y="136593"/>
                      <a:pt x="91059" y="139641"/>
                      <a:pt x="94869" y="139641"/>
                    </a:cubicBezTo>
                    <a:lnTo>
                      <a:pt x="114014" y="139641"/>
                    </a:lnTo>
                    <a:cubicBezTo>
                      <a:pt x="117824" y="139641"/>
                      <a:pt x="119063" y="136593"/>
                      <a:pt x="116681" y="132783"/>
                    </a:cubicBezTo>
                    <a:lnTo>
                      <a:pt x="67247" y="55154"/>
                    </a:lnTo>
                    <a:lnTo>
                      <a:pt x="109919" y="6863"/>
                    </a:lnTo>
                    <a:lnTo>
                      <a:pt x="109919" y="686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AC01EF81-D90C-492B-A5BD-0B2C0236A7AD}"/>
                  </a:ext>
                </a:extLst>
              </p:cNvPr>
              <p:cNvSpPr/>
              <p:nvPr/>
            </p:nvSpPr>
            <p:spPr bwMode="gray">
              <a:xfrm>
                <a:off x="8399217" y="242459"/>
                <a:ext cx="27717" cy="139541"/>
              </a:xfrm>
              <a:custGeom>
                <a:avLst/>
                <a:gdLst>
                  <a:gd name="connsiteX0" fmla="*/ 0 w 27717"/>
                  <a:gd name="connsiteY0" fmla="*/ 132683 h 139541"/>
                  <a:gd name="connsiteX1" fmla="*/ 6858 w 27717"/>
                  <a:gd name="connsiteY1" fmla="*/ 139541 h 139541"/>
                  <a:gd name="connsiteX2" fmla="*/ 20765 w 27717"/>
                  <a:gd name="connsiteY2" fmla="*/ 139541 h 139541"/>
                  <a:gd name="connsiteX3" fmla="*/ 27623 w 27717"/>
                  <a:gd name="connsiteY3" fmla="*/ 132683 h 139541"/>
                  <a:gd name="connsiteX4" fmla="*/ 27718 w 27717"/>
                  <a:gd name="connsiteY4" fmla="*/ 6858 h 139541"/>
                  <a:gd name="connsiteX5" fmla="*/ 20860 w 27717"/>
                  <a:gd name="connsiteY5" fmla="*/ 0 h 139541"/>
                  <a:gd name="connsiteX6" fmla="*/ 6953 w 27717"/>
                  <a:gd name="connsiteY6" fmla="*/ 0 h 139541"/>
                  <a:gd name="connsiteX7" fmla="*/ 95 w 27717"/>
                  <a:gd name="connsiteY7" fmla="*/ 6858 h 139541"/>
                  <a:gd name="connsiteX8" fmla="*/ 0 w 27717"/>
                  <a:gd name="connsiteY8" fmla="*/ 132683 h 139541"/>
                  <a:gd name="connsiteX9" fmla="*/ 0 w 27717"/>
                  <a:gd name="connsiteY9" fmla="*/ 132683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717" h="139541">
                    <a:moveTo>
                      <a:pt x="0" y="132683"/>
                    </a:moveTo>
                    <a:cubicBezTo>
                      <a:pt x="0" y="136493"/>
                      <a:pt x="3048" y="139541"/>
                      <a:pt x="6858" y="139541"/>
                    </a:cubicBezTo>
                    <a:lnTo>
                      <a:pt x="20765" y="139541"/>
                    </a:lnTo>
                    <a:cubicBezTo>
                      <a:pt x="24575" y="139541"/>
                      <a:pt x="27623" y="136493"/>
                      <a:pt x="27623" y="132683"/>
                    </a:cubicBezTo>
                    <a:lnTo>
                      <a:pt x="27718" y="6858"/>
                    </a:lnTo>
                    <a:cubicBezTo>
                      <a:pt x="27718" y="3048"/>
                      <a:pt x="24670" y="0"/>
                      <a:pt x="20860" y="0"/>
                    </a:cubicBezTo>
                    <a:lnTo>
                      <a:pt x="6953" y="0"/>
                    </a:lnTo>
                    <a:cubicBezTo>
                      <a:pt x="3143" y="0"/>
                      <a:pt x="95" y="3048"/>
                      <a:pt x="95" y="6858"/>
                    </a:cubicBezTo>
                    <a:lnTo>
                      <a:pt x="0" y="132683"/>
                    </a:lnTo>
                    <a:lnTo>
                      <a:pt x="0" y="13268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02001758-A421-45A7-92AE-721BD08F7497}"/>
                  </a:ext>
                </a:extLst>
              </p:cNvPr>
              <p:cNvSpPr/>
              <p:nvPr/>
            </p:nvSpPr>
            <p:spPr bwMode="gray">
              <a:xfrm>
                <a:off x="8455889" y="242554"/>
                <a:ext cx="110490" cy="139541"/>
              </a:xfrm>
              <a:custGeom>
                <a:avLst/>
                <a:gdLst>
                  <a:gd name="connsiteX0" fmla="*/ 82963 w 110490"/>
                  <a:gd name="connsiteY0" fmla="*/ 6858 h 139541"/>
                  <a:gd name="connsiteX1" fmla="*/ 89821 w 110490"/>
                  <a:gd name="connsiteY1" fmla="*/ 0 h 139541"/>
                  <a:gd name="connsiteX2" fmla="*/ 103632 w 110490"/>
                  <a:gd name="connsiteY2" fmla="*/ 0 h 139541"/>
                  <a:gd name="connsiteX3" fmla="*/ 110490 w 110490"/>
                  <a:gd name="connsiteY3" fmla="*/ 6858 h 139541"/>
                  <a:gd name="connsiteX4" fmla="*/ 110490 w 110490"/>
                  <a:gd name="connsiteY4" fmla="*/ 132683 h 139541"/>
                  <a:gd name="connsiteX5" fmla="*/ 103632 w 110490"/>
                  <a:gd name="connsiteY5" fmla="*/ 139541 h 139541"/>
                  <a:gd name="connsiteX6" fmla="*/ 89916 w 110490"/>
                  <a:gd name="connsiteY6" fmla="*/ 139541 h 139541"/>
                  <a:gd name="connsiteX7" fmla="*/ 83058 w 110490"/>
                  <a:gd name="connsiteY7" fmla="*/ 132683 h 139541"/>
                  <a:gd name="connsiteX8" fmla="*/ 82963 w 110490"/>
                  <a:gd name="connsiteY8" fmla="*/ 80867 h 139541"/>
                  <a:gd name="connsiteX9" fmla="*/ 27527 w 110490"/>
                  <a:gd name="connsiteY9" fmla="*/ 80867 h 139541"/>
                  <a:gd name="connsiteX10" fmla="*/ 27527 w 110490"/>
                  <a:gd name="connsiteY10" fmla="*/ 132683 h 139541"/>
                  <a:gd name="connsiteX11" fmla="*/ 20669 w 110490"/>
                  <a:gd name="connsiteY11" fmla="*/ 139541 h 139541"/>
                  <a:gd name="connsiteX12" fmla="*/ 6858 w 110490"/>
                  <a:gd name="connsiteY12" fmla="*/ 139541 h 139541"/>
                  <a:gd name="connsiteX13" fmla="*/ 0 w 110490"/>
                  <a:gd name="connsiteY13" fmla="*/ 132683 h 139541"/>
                  <a:gd name="connsiteX14" fmla="*/ 0 w 110490"/>
                  <a:gd name="connsiteY14" fmla="*/ 6858 h 139541"/>
                  <a:gd name="connsiteX15" fmla="*/ 6858 w 110490"/>
                  <a:gd name="connsiteY15" fmla="*/ 0 h 139541"/>
                  <a:gd name="connsiteX16" fmla="*/ 20669 w 110490"/>
                  <a:gd name="connsiteY16" fmla="*/ 0 h 139541"/>
                  <a:gd name="connsiteX17" fmla="*/ 27527 w 110490"/>
                  <a:gd name="connsiteY17" fmla="*/ 6858 h 139541"/>
                  <a:gd name="connsiteX18" fmla="*/ 27432 w 110490"/>
                  <a:gd name="connsiteY18" fmla="*/ 57436 h 139541"/>
                  <a:gd name="connsiteX19" fmla="*/ 82868 w 110490"/>
                  <a:gd name="connsiteY19" fmla="*/ 57436 h 139541"/>
                  <a:gd name="connsiteX20" fmla="*/ 82963 w 110490"/>
                  <a:gd name="connsiteY20" fmla="*/ 6858 h 139541"/>
                  <a:gd name="connsiteX21" fmla="*/ 82963 w 110490"/>
                  <a:gd name="connsiteY21" fmla="*/ 6858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490" h="139541">
                    <a:moveTo>
                      <a:pt x="82963" y="6858"/>
                    </a:moveTo>
                    <a:cubicBezTo>
                      <a:pt x="82963" y="3048"/>
                      <a:pt x="86011" y="0"/>
                      <a:pt x="89821" y="0"/>
                    </a:cubicBezTo>
                    <a:lnTo>
                      <a:pt x="103632" y="0"/>
                    </a:lnTo>
                    <a:cubicBezTo>
                      <a:pt x="107442" y="0"/>
                      <a:pt x="110490" y="3048"/>
                      <a:pt x="110490" y="6858"/>
                    </a:cubicBezTo>
                    <a:lnTo>
                      <a:pt x="110490" y="132683"/>
                    </a:lnTo>
                    <a:cubicBezTo>
                      <a:pt x="110490" y="136493"/>
                      <a:pt x="107442" y="139541"/>
                      <a:pt x="103632" y="139541"/>
                    </a:cubicBezTo>
                    <a:lnTo>
                      <a:pt x="89916" y="139541"/>
                    </a:lnTo>
                    <a:cubicBezTo>
                      <a:pt x="86106" y="139541"/>
                      <a:pt x="83058" y="136493"/>
                      <a:pt x="83058" y="132683"/>
                    </a:cubicBezTo>
                    <a:lnTo>
                      <a:pt x="82963" y="80867"/>
                    </a:lnTo>
                    <a:lnTo>
                      <a:pt x="27527" y="80867"/>
                    </a:lnTo>
                    <a:lnTo>
                      <a:pt x="27527" y="132683"/>
                    </a:lnTo>
                    <a:cubicBezTo>
                      <a:pt x="27527" y="136493"/>
                      <a:pt x="24479" y="139541"/>
                      <a:pt x="20669" y="139541"/>
                    </a:cubicBezTo>
                    <a:lnTo>
                      <a:pt x="6858" y="139541"/>
                    </a:lnTo>
                    <a:cubicBezTo>
                      <a:pt x="3048" y="139541"/>
                      <a:pt x="0" y="136493"/>
                      <a:pt x="0" y="132683"/>
                    </a:cubicBezTo>
                    <a:lnTo>
                      <a:pt x="0" y="6858"/>
                    </a:lnTo>
                    <a:cubicBezTo>
                      <a:pt x="0" y="3048"/>
                      <a:pt x="3048" y="0"/>
                      <a:pt x="6858" y="0"/>
                    </a:cubicBezTo>
                    <a:lnTo>
                      <a:pt x="20669" y="0"/>
                    </a:lnTo>
                    <a:cubicBezTo>
                      <a:pt x="24479" y="0"/>
                      <a:pt x="27527" y="3048"/>
                      <a:pt x="27527" y="6858"/>
                    </a:cubicBezTo>
                    <a:lnTo>
                      <a:pt x="27432" y="57436"/>
                    </a:lnTo>
                    <a:lnTo>
                      <a:pt x="82868" y="57436"/>
                    </a:lnTo>
                    <a:lnTo>
                      <a:pt x="82963" y="6858"/>
                    </a:lnTo>
                    <a:lnTo>
                      <a:pt x="82963" y="685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  <p:sp>
          <p:nvSpPr>
            <p:cNvPr id="61" name="Gleichschenkliges Dreieck 60">
              <a:extLst>
                <a:ext uri="{FF2B5EF4-FFF2-40B4-BE49-F238E27FC236}">
                  <a16:creationId xmlns:a16="http://schemas.microsoft.com/office/drawing/2014/main" id="{3EDA3871-CE49-4A11-83A9-9D0397FA4E6C}"/>
                </a:ext>
              </a:extLst>
            </p:cNvPr>
            <p:cNvSpPr/>
            <p:nvPr/>
          </p:nvSpPr>
          <p:spPr>
            <a:xfrm rot="7860000">
              <a:off x="1856408" y="3738519"/>
              <a:ext cx="178430" cy="159486"/>
            </a:xfrm>
            <a:prstGeom prst="triangle">
              <a:avLst>
                <a:gd name="adj" fmla="val 5214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2D4C8933-E674-4E6C-A465-3EC24EA464D3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738913" y="3946194"/>
              <a:ext cx="195262" cy="199110"/>
            </a:xfrm>
            <a:prstGeom prst="line">
              <a:avLst/>
            </a:prstGeom>
            <a:ln w="19050" cap="sq">
              <a:solidFill>
                <a:srgbClr val="BDC5D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>
              <a:extLst>
                <a:ext uri="{FF2B5EF4-FFF2-40B4-BE49-F238E27FC236}">
                  <a16:creationId xmlns:a16="http://schemas.microsoft.com/office/drawing/2014/main" id="{0BE539CF-35CC-4B37-8747-0F476CF3AB8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24026" y="3706926"/>
              <a:ext cx="216000" cy="226800"/>
            </a:xfrm>
            <a:prstGeom prst="line">
              <a:avLst/>
            </a:prstGeom>
            <a:ln w="19050" cap="sq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Gleichschenkliges Dreieck 63">
              <a:extLst>
                <a:ext uri="{FF2B5EF4-FFF2-40B4-BE49-F238E27FC236}">
                  <a16:creationId xmlns:a16="http://schemas.microsoft.com/office/drawing/2014/main" id="{6923E10D-A988-4168-B762-7E34BA91F676}"/>
                </a:ext>
              </a:extLst>
            </p:cNvPr>
            <p:cNvSpPr/>
            <p:nvPr/>
          </p:nvSpPr>
          <p:spPr>
            <a:xfrm rot="2760000">
              <a:off x="1869700" y="3951490"/>
              <a:ext cx="160587" cy="177207"/>
            </a:xfrm>
            <a:prstGeom prst="triangle">
              <a:avLst>
                <a:gd name="adj" fmla="val 52148"/>
              </a:avLst>
            </a:prstGeom>
            <a:solidFill>
              <a:srgbClr val="BDC5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1571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orient="horz" pos="172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Text  – 3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A30697-40CF-4578-9576-8358C12E53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8936" y="1239838"/>
            <a:ext cx="2628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C2F48DA-D5CA-4D32-AB60-ADAAB69E76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58000" y="1239837"/>
            <a:ext cx="2628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405F289A-B18A-43D2-A8FC-25F5D0D680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65150" y="1239838"/>
            <a:ext cx="2628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5520512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Text  – 1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A30697-40CF-4578-9576-8358C12E53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8936" y="1239838"/>
            <a:ext cx="1944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C2F48DA-D5CA-4D32-AB60-ADAAB69E76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43291" y="1239837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405F289A-B18A-43D2-A8FC-25F5D0D680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7646" y="1239838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68E8F98A-DF3D-4628-8846-8BAA8269C6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32000" y="1239838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7375126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Text  – 2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A30697-40CF-4578-9576-8358C12E53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8936" y="1239838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C2F48DA-D5CA-4D32-AB60-ADAAB69E76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49007" y="1239837"/>
            <a:ext cx="1944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405F289A-B18A-43D2-A8FC-25F5D0D680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49078" y="1239838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9EFDA31F-B2D3-4988-A017-EF57577551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9150" y="1239838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0679653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Text  – 3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A30697-40CF-4578-9576-8358C12E53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8936" y="1239838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C2F48DA-D5CA-4D32-AB60-ADAAB69E76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49645" y="1239837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405F289A-B18A-43D2-A8FC-25F5D0D680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0354" y="1239838"/>
            <a:ext cx="1944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358775" indent="0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0F8975A1-AAC9-4C80-9C9E-998D308D47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51064" y="1239838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228603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Text  – 4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5A30697-40CF-4578-9576-8358C12E53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8936" y="1239838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C2F48DA-D5CA-4D32-AB60-ADAAB69E76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49645" y="1239837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405F289A-B18A-43D2-A8FC-25F5D0D680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0354" y="1239838"/>
            <a:ext cx="1944000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0F8975A1-AAC9-4C80-9C9E-998D308D47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51064" y="1239838"/>
            <a:ext cx="1944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7874000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5869106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da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3399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6121F74-D989-4289-9EA0-478F6EA57E2F}"/>
              </a:ext>
            </a:extLst>
          </p:cNvPr>
          <p:cNvSpPr>
            <a:spLocks/>
          </p:cNvSpPr>
          <p:nvPr userDrawn="1"/>
        </p:nvSpPr>
        <p:spPr bwMode="gray">
          <a:xfrm>
            <a:off x="3257816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87D001E-4A0C-4546-A3FE-E96D6CA3B94E}"/>
              </a:ext>
            </a:extLst>
          </p:cNvPr>
          <p:cNvSpPr>
            <a:spLocks/>
          </p:cNvSpPr>
          <p:nvPr userDrawn="1"/>
        </p:nvSpPr>
        <p:spPr bwMode="gray">
          <a:xfrm>
            <a:off x="6066368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90AA676-3A89-4B8C-A511-1BE7F0CA5993}"/>
              </a:ext>
            </a:extLst>
          </p:cNvPr>
          <p:cNvSpPr>
            <a:spLocks/>
          </p:cNvSpPr>
          <p:nvPr userDrawn="1"/>
        </p:nvSpPr>
        <p:spPr bwMode="gray">
          <a:xfrm>
            <a:off x="449263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Gleichschenkliges Dreieck 33">
            <a:extLst>
              <a:ext uri="{FF2B5EF4-FFF2-40B4-BE49-F238E27FC236}">
                <a16:creationId xmlns:a16="http://schemas.microsoft.com/office/drawing/2014/main" id="{F0F09207-2F33-4E9A-B06C-E3A5E02205E4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00143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7A62AE01-0D82-4AFB-8085-65C9D2CA626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00451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id="{43BCDE62-2119-4BCB-99D4-3A3F851B311C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3400297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t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2550B99-4996-4F04-8FA2-DC0FB49F744F}"/>
              </a:ext>
            </a:extLst>
          </p:cNvPr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449263" y="1239838"/>
            <a:ext cx="1004400" cy="1004400"/>
          </a:xfrm>
          <a:prstGeom prst="rect">
            <a:avLst/>
          </a:prstGeo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02F6050-9D7A-4590-AA9A-A7A33778EFC8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449263" y="2383454"/>
            <a:ext cx="2628000" cy="540000"/>
          </a:xfrm>
          <a:prstGeom prst="rect">
            <a:avLst/>
          </a:prstGeo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CC1154-8FC7-4FB4-BBB8-7FCBD1AD48A9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9263" y="2923454"/>
            <a:ext cx="2628000" cy="955028"/>
          </a:xfrm>
          <a:prstGeom prst="rect">
            <a:avLst/>
          </a:prstGeo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-Mail-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3CF1BAB-F95F-4576-A3EC-168BAD168DA4}"/>
              </a:ext>
            </a:extLst>
          </p:cNvPr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3257815" y="1239838"/>
            <a:ext cx="1004400" cy="1004400"/>
          </a:xfrm>
          <a:prstGeom prst="rect">
            <a:avLst/>
          </a:prstGeo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D4C43A8-89ED-4EB9-97D7-747C5DDFF105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 bwMode="gray">
          <a:xfrm>
            <a:off x="3257816" y="2383454"/>
            <a:ext cx="2628000" cy="540000"/>
          </a:xfrm>
          <a:prstGeom prst="rect">
            <a:avLst/>
          </a:prstGeo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C8894A11-D774-4CDC-8BD4-F4D7D626632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gray">
          <a:xfrm>
            <a:off x="3257816" y="2923454"/>
            <a:ext cx="2628000" cy="955028"/>
          </a:xfrm>
          <a:prstGeom prst="rect">
            <a:avLst/>
          </a:prstGeo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-Mail-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0485E7A-2B37-4081-A0C9-7223B6C190BE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6066368" y="1239838"/>
            <a:ext cx="1004400" cy="1004400"/>
          </a:xfrm>
          <a:prstGeom prst="rect">
            <a:avLst/>
          </a:prstGeo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693839B-624A-483A-ADDF-63B6429D355D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 bwMode="gray">
          <a:xfrm>
            <a:off x="6066368" y="2383454"/>
            <a:ext cx="2628000" cy="540000"/>
          </a:xfrm>
          <a:prstGeom prst="rect">
            <a:avLst/>
          </a:prstGeo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5F8B023-A6E0-411D-8FA9-7BC9BF18539D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 bwMode="gray">
          <a:xfrm>
            <a:off x="6066368" y="2923454"/>
            <a:ext cx="2628000" cy="955028"/>
          </a:xfrm>
          <a:prstGeom prst="rect">
            <a:avLst/>
          </a:prstGeo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-Mail-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40" name="Gleichschenkliges Dreieck 39">
            <a:extLst>
              <a:ext uri="{FF2B5EF4-FFF2-40B4-BE49-F238E27FC236}">
                <a16:creationId xmlns:a16="http://schemas.microsoft.com/office/drawing/2014/main" id="{F1082862-6487-4C47-925D-51855043F42B}"/>
              </a:ext>
            </a:extLst>
          </p:cNvPr>
          <p:cNvSpPr>
            <a:spLocks noChangeAspect="1"/>
          </p:cNvSpPr>
          <p:nvPr userDrawn="1"/>
        </p:nvSpPr>
        <p:spPr bwMode="gray">
          <a:xfrm rot="5400000">
            <a:off x="395266" y="4251685"/>
            <a:ext cx="215995" cy="108000"/>
          </a:xfrm>
          <a:prstGeom prst="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A308CA1-542A-480E-929B-4CC21C0A45AE}"/>
              </a:ext>
            </a:extLst>
          </p:cNvPr>
          <p:cNvSpPr/>
          <p:nvPr userDrawn="1"/>
        </p:nvSpPr>
        <p:spPr>
          <a:xfrm>
            <a:off x="449263" y="4123475"/>
            <a:ext cx="8251824" cy="46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>
            <a:noAutofit/>
          </a:bodyPr>
          <a:lstStyle/>
          <a:p>
            <a:pPr algn="l"/>
            <a:r>
              <a:rPr lang="de-DE" sz="1200" dirty="0">
                <a:solidFill>
                  <a:schemeClr val="bg1"/>
                </a:solidFill>
              </a:rPr>
              <a:t>        ihk-arnsberg.de             facebook.com/</a:t>
            </a:r>
            <a:r>
              <a:rPr lang="de-DE" sz="1200" dirty="0" err="1">
                <a:solidFill>
                  <a:schemeClr val="bg1"/>
                </a:solidFill>
              </a:rPr>
              <a:t>IHKArnsberg</a:t>
            </a:r>
            <a:r>
              <a:rPr lang="de-DE" sz="1200" dirty="0">
                <a:solidFill>
                  <a:schemeClr val="bg1"/>
                </a:solidFill>
              </a:rPr>
              <a:t>            @ihk_arnsberg                    ihk-arnsberg.de/</a:t>
            </a:r>
            <a:r>
              <a:rPr lang="de-DE" sz="1200" dirty="0" err="1">
                <a:solidFill>
                  <a:schemeClr val="bg1"/>
                </a:solidFill>
              </a:rPr>
              <a:t>newsletter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B3C5836-1D95-4CF2-A32E-59781563EF0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166225" y="4265675"/>
            <a:ext cx="180000" cy="180000"/>
          </a:xfrm>
          <a:prstGeom prst="rect">
            <a:avLst/>
          </a:prstGeom>
        </p:spPr>
      </p:pic>
      <p:pic>
        <p:nvPicPr>
          <p:cNvPr id="12" name="Grafik 11" descr="Ein Bild, das Text, Uhr enthält.&#10;&#10;Automatisch generierte Beschreibung">
            <a:extLst>
              <a:ext uri="{FF2B5EF4-FFF2-40B4-BE49-F238E27FC236}">
                <a16:creationId xmlns:a16="http://schemas.microsoft.com/office/drawing/2014/main" id="{1F6606A4-6E8A-4727-AC4A-5034A26C82F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637459" y="4265675"/>
            <a:ext cx="180000" cy="180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29DAED5-1800-4AD0-AC3B-DA23466C99F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6491610" y="4265675"/>
            <a:ext cx="180000" cy="18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94FC0A4-25E8-46EA-A90A-4CE3C7CBC83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95891" y="4265675"/>
            <a:ext cx="180000" cy="180000"/>
          </a:xfrm>
          <a:prstGeom prst="rect">
            <a:avLst/>
          </a:prstGeom>
        </p:spPr>
      </p:pic>
      <p:sp>
        <p:nvSpPr>
          <p:cNvPr id="30" name="Gleichschenkliges Dreieck 29">
            <a:extLst>
              <a:ext uri="{FF2B5EF4-FFF2-40B4-BE49-F238E27FC236}">
                <a16:creationId xmlns:a16="http://schemas.microsoft.com/office/drawing/2014/main" id="{6C290F90-432E-4D4D-B128-D62D168AF85F}"/>
              </a:ext>
            </a:extLst>
          </p:cNvPr>
          <p:cNvSpPr>
            <a:spLocks noChangeAspect="1"/>
          </p:cNvSpPr>
          <p:nvPr userDrawn="1"/>
        </p:nvSpPr>
        <p:spPr bwMode="gray">
          <a:xfrm rot="5400000">
            <a:off x="397914" y="4310674"/>
            <a:ext cx="180000" cy="90002"/>
          </a:xfrm>
          <a:prstGeom prst="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3721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9E1867-169E-4A9A-AE98-0D517651F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6" name="Grafik 5" descr="Ein Bild, das Schiff, Gebäude, groß, Brücke enthält.&#10;&#10;Automatisch generierte Beschreibung">
            <a:extLst>
              <a:ext uri="{FF2B5EF4-FFF2-40B4-BE49-F238E27FC236}">
                <a16:creationId xmlns:a16="http://schemas.microsoft.com/office/drawing/2014/main" id="{7C0B7CCA-982C-45E9-BC3E-2B2DEB5E8D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7052"/>
          <a:stretch/>
        </p:blipFill>
        <p:spPr>
          <a:xfrm>
            <a:off x="0" y="2952328"/>
            <a:ext cx="9144000" cy="219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4739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gramm (6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E194D0-E5BC-4364-A79D-A5947F21E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92F47487-84EF-4FB3-8CF3-CF1B6B860B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85650" y="1175652"/>
            <a:ext cx="495997" cy="495997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…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FBF8ACB-320B-4330-9683-0A5F47A098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5987" y="1175652"/>
            <a:ext cx="4527188" cy="495997"/>
          </a:xfrm>
          <a:noFill/>
        </p:spPr>
        <p:txBody>
          <a:bodyPr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Erster Programmpunkt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B686A314-F354-4354-AB32-18643A7FC0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85650" y="1830438"/>
            <a:ext cx="495997" cy="495997"/>
          </a:xfrm>
          <a:solidFill>
            <a:schemeClr val="accent3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…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1A7B4E00-22B5-4C71-8CBA-B898F038C0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85650" y="2485224"/>
            <a:ext cx="495998" cy="495998"/>
          </a:xfrm>
          <a:solidFill>
            <a:schemeClr val="accent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…</a:t>
            </a:r>
          </a:p>
        </p:txBody>
      </p:sp>
      <p:sp>
        <p:nvSpPr>
          <p:cNvPr id="37" name="Textplatzhalter 4">
            <a:extLst>
              <a:ext uri="{FF2B5EF4-FFF2-40B4-BE49-F238E27FC236}">
                <a16:creationId xmlns:a16="http://schemas.microsoft.com/office/drawing/2014/main" id="{0AF7E60F-0E9B-4385-BB6C-C2C0D26A3A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85650" y="3140011"/>
            <a:ext cx="495998" cy="495998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…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65602215-C4BF-4317-A431-4C8189CB1B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85650" y="3794798"/>
            <a:ext cx="495998" cy="495998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…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945F583C-EB85-4108-9A90-B534925E9A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85650" y="4449586"/>
            <a:ext cx="495998" cy="495998"/>
          </a:xfrm>
          <a:solidFill>
            <a:schemeClr val="accent5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…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C5CA0E8A-913A-4177-B321-3BC54C06EEC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63871" y="1830437"/>
            <a:ext cx="4527188" cy="495997"/>
          </a:xfrm>
          <a:noFill/>
        </p:spPr>
        <p:txBody>
          <a:bodyPr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Zweiter Programmpunkt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5DEC848F-6400-4CCB-9610-285520284F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1755" y="2485222"/>
            <a:ext cx="4527188" cy="495997"/>
          </a:xfrm>
          <a:noFill/>
        </p:spPr>
        <p:txBody>
          <a:bodyPr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Dritter Programmpunk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0741E6E2-9A82-4E7A-B7E9-7A069A0243F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59639" y="3140007"/>
            <a:ext cx="4527188" cy="495997"/>
          </a:xfrm>
          <a:noFill/>
        </p:spPr>
        <p:txBody>
          <a:bodyPr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Vierter Programmpunkt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0CA4C0C-68AD-4DC9-BE56-53EBB8EAC7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57523" y="3794792"/>
            <a:ext cx="4527188" cy="495997"/>
          </a:xfrm>
          <a:noFill/>
        </p:spPr>
        <p:txBody>
          <a:bodyPr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Fünfter Programmpunkt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3B9747D4-DE68-4C0F-B23D-7048A69DDB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55407" y="4449577"/>
            <a:ext cx="4527188" cy="495997"/>
          </a:xfrm>
          <a:noFill/>
        </p:spPr>
        <p:txBody>
          <a:bodyPr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864000" indent="0">
              <a:buNone/>
              <a:defRPr/>
            </a:lvl4pPr>
            <a:lvl5pPr marL="1152000" indent="0">
              <a:buNone/>
              <a:defRPr/>
            </a:lvl5pPr>
          </a:lstStyle>
          <a:p>
            <a:pPr lvl="0"/>
            <a:r>
              <a:rPr lang="de-DE"/>
              <a:t>Sechster Programmpunkt</a:t>
            </a:r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9572E284-F853-4F4C-A47D-A0BA76CEB38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982662"/>
            <a:ext cx="3298113" cy="4160837"/>
          </a:xfrm>
          <a:custGeom>
            <a:avLst/>
            <a:gdLst>
              <a:gd name="connsiteX0" fmla="*/ 257889 w 3298113"/>
              <a:gd name="connsiteY0" fmla="*/ 1 h 4160837"/>
              <a:gd name="connsiteX1" fmla="*/ 398721 w 3298113"/>
              <a:gd name="connsiteY1" fmla="*/ 136764 h 4160837"/>
              <a:gd name="connsiteX2" fmla="*/ 539553 w 3298113"/>
              <a:gd name="connsiteY2" fmla="*/ 1 h 4160837"/>
              <a:gd name="connsiteX3" fmla="*/ 0 w 3298113"/>
              <a:gd name="connsiteY3" fmla="*/ 0 h 4160837"/>
              <a:gd name="connsiteX4" fmla="*/ 3298113 w 3298113"/>
              <a:gd name="connsiteY4" fmla="*/ 0 h 4160837"/>
              <a:gd name="connsiteX5" fmla="*/ 3298113 w 3298113"/>
              <a:gd name="connsiteY5" fmla="*/ 4160837 h 4160837"/>
              <a:gd name="connsiteX6" fmla="*/ 0 w 3298113"/>
              <a:gd name="connsiteY6" fmla="*/ 4160837 h 416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98113" h="4160837">
                <a:moveTo>
                  <a:pt x="257889" y="1"/>
                </a:moveTo>
                <a:lnTo>
                  <a:pt x="398721" y="136764"/>
                </a:lnTo>
                <a:lnTo>
                  <a:pt x="539553" y="1"/>
                </a:lnTo>
                <a:close/>
                <a:moveTo>
                  <a:pt x="0" y="0"/>
                </a:moveTo>
                <a:lnTo>
                  <a:pt x="3298113" y="0"/>
                </a:lnTo>
                <a:lnTo>
                  <a:pt x="3298113" y="4160837"/>
                </a:lnTo>
                <a:lnTo>
                  <a:pt x="0" y="4160837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/>
              <a:t>Bild durch Klicken auf Symbol hinzufügen </a:t>
            </a:r>
            <a:br>
              <a:rPr lang="de-DE"/>
            </a:br>
            <a:r>
              <a:rPr lang="de-DE"/>
              <a:t>und anschließend in den Hintergrund platzieren (Rechte Maustaste)</a:t>
            </a:r>
          </a:p>
        </p:txBody>
      </p:sp>
    </p:spTree>
    <p:extLst>
      <p:ext uri="{BB962C8B-B14F-4D97-AF65-F5344CB8AC3E}">
        <p14:creationId xmlns:p14="http://schemas.microsoft.com/office/powerpoint/2010/main" val="410031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Bildplatzhalter 7" descr="Ein Bild, das Uhr enthält.&#10;&#10;Automatisch generierte Beschreibung">
            <a:extLst>
              <a:ext uri="{FF2B5EF4-FFF2-40B4-BE49-F238E27FC236}">
                <a16:creationId xmlns:a16="http://schemas.microsoft.com/office/drawing/2014/main" id="{3FD2ABF8-AA28-44A2-87E2-4032C9AA44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" t="48" r="3375" b="-48"/>
          <a:stretch/>
        </p:blipFill>
        <p:spPr bwMode="gray">
          <a:xfrm>
            <a:off x="0" y="0"/>
            <a:ext cx="9144000" cy="3470098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81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5A3ACC9-18FF-40A5-890D-49F66796A792}"/>
              </a:ext>
            </a:extLst>
          </p:cNvPr>
          <p:cNvSpPr/>
          <p:nvPr userDrawn="1"/>
        </p:nvSpPr>
        <p:spPr bwMode="gray">
          <a:xfrm>
            <a:off x="4260800" y="3469749"/>
            <a:ext cx="48832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60800" y="2202549"/>
            <a:ext cx="4881600" cy="1267200"/>
          </a:xfrm>
          <a:solidFill>
            <a:schemeClr val="accent1"/>
          </a:solidFill>
        </p:spPr>
        <p:txBody>
          <a:bodyPr lIns="360000" rIns="360000" anchor="ctr"/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0DDFBC0F-5C2D-4296-9BD2-08212B14804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646443" y="3469400"/>
            <a:ext cx="215995" cy="108000"/>
          </a:xfrm>
          <a:prstGeom prst="triangle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3366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60800" y="3470098"/>
            <a:ext cx="4881600" cy="576000"/>
          </a:xfrm>
          <a:prstGeom prst="rect">
            <a:avLst/>
          </a:prstGeom>
          <a:noFill/>
          <a:ln>
            <a:noFill/>
          </a:ln>
        </p:spPr>
        <p:txBody>
          <a:bodyPr lIns="360000" rIns="360000" anchor="ctr"/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BB91870-8B6B-44F4-8C93-5C0E780D17F5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70EFADB4-016E-4B33-8790-11A56A804D9E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D11445A3-A2A6-465D-8B34-E48D48B6EACE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8B014DEC-98C7-4D2E-B7C6-A47F68BDD78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7AB73926-F427-4847-9278-464B8C8BB1DB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00DAE0A-F534-47E4-A20A-6BD935B71D46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3C192E67-7316-4136-966F-586B6DA2DB9F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B277B64-1C27-4058-BB9D-4B3D2B398C05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50575BB-94E5-45C5-BA35-F45DCF30DB62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D8CD6AC-C476-4082-8F25-D99CE3E1542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1F9DF423-1598-4D30-BB68-13B4B661B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0DEFE313-F36A-483C-A7D0-4313F247F2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BFAB5E2B-8E39-44E7-B19A-33ED8081761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172AFAAB-2EAD-4C71-B14D-F2470FC173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F4665723-F552-42C4-B9B4-165AAA3C8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9" name="Grafik 58">
            <a:extLst>
              <a:ext uri="{FF2B5EF4-FFF2-40B4-BE49-F238E27FC236}">
                <a16:creationId xmlns:a16="http://schemas.microsoft.com/office/drawing/2014/main" id="{DD485E2D-A933-4AC0-9DF6-1D84EABAF0E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629275" y="4585654"/>
            <a:ext cx="3063875" cy="251757"/>
          </a:xfrm>
          <a:prstGeom prst="rect">
            <a:avLst/>
          </a:prstGeom>
        </p:spPr>
      </p:pic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3E3B55A3-2CAD-4866-B617-1917F4F951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9655" y="4226127"/>
            <a:ext cx="1152541" cy="576000"/>
            <a:chOff x="1516529" y="3634540"/>
            <a:chExt cx="1240583" cy="558000"/>
          </a:xfrm>
        </p:grpSpPr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E96928F8-6B88-4BA8-9DDF-043BBD21386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516529" y="3634540"/>
              <a:ext cx="1240583" cy="558000"/>
              <a:chOff x="7856281" y="172641"/>
              <a:chExt cx="930500" cy="418528"/>
            </a:xfrm>
          </p:grpSpPr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420592DE-5AFF-4963-92B5-ADE7C17351C7}"/>
                  </a:ext>
                </a:extLst>
              </p:cNvPr>
              <p:cNvSpPr/>
              <p:nvPr/>
            </p:nvSpPr>
            <p:spPr bwMode="gray">
              <a:xfrm>
                <a:off x="7856281" y="172641"/>
                <a:ext cx="513034" cy="418528"/>
              </a:xfrm>
              <a:custGeom>
                <a:avLst/>
                <a:gdLst>
                  <a:gd name="connsiteX0" fmla="*/ 418433 w 453901"/>
                  <a:gd name="connsiteY0" fmla="*/ 0 h 418528"/>
                  <a:gd name="connsiteX1" fmla="*/ 0 w 453901"/>
                  <a:gd name="connsiteY1" fmla="*/ 0 h 418528"/>
                  <a:gd name="connsiteX2" fmla="*/ 0 w 453901"/>
                  <a:gd name="connsiteY2" fmla="*/ 418529 h 418528"/>
                  <a:gd name="connsiteX3" fmla="*/ 418433 w 453901"/>
                  <a:gd name="connsiteY3" fmla="*/ 418529 h 418528"/>
                  <a:gd name="connsiteX4" fmla="*/ 418433 w 453901"/>
                  <a:gd name="connsiteY4" fmla="*/ 0 h 418528"/>
                  <a:gd name="connsiteX5" fmla="*/ 418433 w 453901"/>
                  <a:gd name="connsiteY5" fmla="*/ 0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901" h="418528">
                    <a:moveTo>
                      <a:pt x="418433" y="0"/>
                    </a:moveTo>
                    <a:lnTo>
                      <a:pt x="0" y="0"/>
                    </a:lnTo>
                    <a:lnTo>
                      <a:pt x="0" y="418529"/>
                    </a:lnTo>
                    <a:lnTo>
                      <a:pt x="418433" y="418529"/>
                    </a:lnTo>
                    <a:cubicBezTo>
                      <a:pt x="465677" y="283750"/>
                      <a:pt x="465773" y="134874"/>
                      <a:pt x="418433" y="0"/>
                    </a:cubicBezTo>
                    <a:lnTo>
                      <a:pt x="418433" y="0"/>
                    </a:lnTo>
                    <a:close/>
                  </a:path>
                </a:pathLst>
              </a:custGeom>
              <a:solidFill>
                <a:srgbClr val="CAD2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50933454-07A3-41B9-A8F1-B03C7D933819}"/>
                  </a:ext>
                </a:extLst>
              </p:cNvPr>
              <p:cNvSpPr/>
              <p:nvPr/>
            </p:nvSpPr>
            <p:spPr bwMode="gray">
              <a:xfrm>
                <a:off x="8322350" y="172641"/>
                <a:ext cx="464431" cy="418528"/>
              </a:xfrm>
              <a:custGeom>
                <a:avLst/>
                <a:gdLst>
                  <a:gd name="connsiteX0" fmla="*/ 418433 w 418433"/>
                  <a:gd name="connsiteY0" fmla="*/ 418529 h 418528"/>
                  <a:gd name="connsiteX1" fmla="*/ 0 w 418433"/>
                  <a:gd name="connsiteY1" fmla="*/ 418529 h 418528"/>
                  <a:gd name="connsiteX2" fmla="*/ 0 w 418433"/>
                  <a:gd name="connsiteY2" fmla="*/ 0 h 418528"/>
                  <a:gd name="connsiteX3" fmla="*/ 418433 w 418433"/>
                  <a:gd name="connsiteY3" fmla="*/ 0 h 418528"/>
                  <a:gd name="connsiteX4" fmla="*/ 418433 w 418433"/>
                  <a:gd name="connsiteY4" fmla="*/ 418529 h 418528"/>
                  <a:gd name="connsiteX5" fmla="*/ 418433 w 418433"/>
                  <a:gd name="connsiteY5" fmla="*/ 418529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8433" h="418528">
                    <a:moveTo>
                      <a:pt x="418433" y="418529"/>
                    </a:moveTo>
                    <a:lnTo>
                      <a:pt x="0" y="418529"/>
                    </a:lnTo>
                    <a:cubicBezTo>
                      <a:pt x="47244" y="283750"/>
                      <a:pt x="47339" y="134969"/>
                      <a:pt x="0" y="0"/>
                    </a:cubicBezTo>
                    <a:lnTo>
                      <a:pt x="418433" y="0"/>
                    </a:lnTo>
                    <a:lnTo>
                      <a:pt x="418433" y="418529"/>
                    </a:lnTo>
                    <a:lnTo>
                      <a:pt x="418433" y="4185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1A35C36A-8D49-400C-8527-D891878B6E9F}"/>
                  </a:ext>
                </a:extLst>
              </p:cNvPr>
              <p:cNvSpPr/>
              <p:nvPr/>
            </p:nvSpPr>
            <p:spPr bwMode="gray">
              <a:xfrm>
                <a:off x="8595431" y="242549"/>
                <a:ext cx="117896" cy="139641"/>
              </a:xfrm>
              <a:custGeom>
                <a:avLst/>
                <a:gdLst>
                  <a:gd name="connsiteX0" fmla="*/ 109919 w 117896"/>
                  <a:gd name="connsiteY0" fmla="*/ 6863 h 139641"/>
                  <a:gd name="connsiteX1" fmla="*/ 109156 w 117896"/>
                  <a:gd name="connsiteY1" fmla="*/ 5 h 139641"/>
                  <a:gd name="connsiteX2" fmla="*/ 90488 w 117896"/>
                  <a:gd name="connsiteY2" fmla="*/ 5 h 139641"/>
                  <a:gd name="connsiteX3" fmla="*/ 78677 w 117896"/>
                  <a:gd name="connsiteY3" fmla="*/ 5720 h 139641"/>
                  <a:gd name="connsiteX4" fmla="*/ 26479 w 117896"/>
                  <a:gd name="connsiteY4" fmla="*/ 62298 h 139641"/>
                  <a:gd name="connsiteX5" fmla="*/ 26384 w 117896"/>
                  <a:gd name="connsiteY5" fmla="*/ 6958 h 139641"/>
                  <a:gd name="connsiteX6" fmla="*/ 19526 w 117896"/>
                  <a:gd name="connsiteY6" fmla="*/ 100 h 139641"/>
                  <a:gd name="connsiteX7" fmla="*/ 6858 w 117896"/>
                  <a:gd name="connsiteY7" fmla="*/ 100 h 139641"/>
                  <a:gd name="connsiteX8" fmla="*/ 0 w 117896"/>
                  <a:gd name="connsiteY8" fmla="*/ 6958 h 139641"/>
                  <a:gd name="connsiteX9" fmla="*/ 0 w 117896"/>
                  <a:gd name="connsiteY9" fmla="*/ 132783 h 139641"/>
                  <a:gd name="connsiteX10" fmla="*/ 6858 w 117896"/>
                  <a:gd name="connsiteY10" fmla="*/ 139641 h 139641"/>
                  <a:gd name="connsiteX11" fmla="*/ 19622 w 117896"/>
                  <a:gd name="connsiteY11" fmla="*/ 139641 h 139641"/>
                  <a:gd name="connsiteX12" fmla="*/ 26479 w 117896"/>
                  <a:gd name="connsiteY12" fmla="*/ 132783 h 139641"/>
                  <a:gd name="connsiteX13" fmla="*/ 26479 w 117896"/>
                  <a:gd name="connsiteY13" fmla="*/ 99922 h 139641"/>
                  <a:gd name="connsiteX14" fmla="*/ 49625 w 117896"/>
                  <a:gd name="connsiteY14" fmla="*/ 74871 h 139641"/>
                  <a:gd name="connsiteX15" fmla="*/ 85439 w 117896"/>
                  <a:gd name="connsiteY15" fmla="*/ 132783 h 139641"/>
                  <a:gd name="connsiteX16" fmla="*/ 94869 w 117896"/>
                  <a:gd name="connsiteY16" fmla="*/ 139641 h 139641"/>
                  <a:gd name="connsiteX17" fmla="*/ 114014 w 117896"/>
                  <a:gd name="connsiteY17" fmla="*/ 139641 h 139641"/>
                  <a:gd name="connsiteX18" fmla="*/ 116681 w 117896"/>
                  <a:gd name="connsiteY18" fmla="*/ 132783 h 139641"/>
                  <a:gd name="connsiteX19" fmla="*/ 67247 w 117896"/>
                  <a:gd name="connsiteY19" fmla="*/ 55154 h 139641"/>
                  <a:gd name="connsiteX20" fmla="*/ 109919 w 117896"/>
                  <a:gd name="connsiteY20" fmla="*/ 6863 h 139641"/>
                  <a:gd name="connsiteX21" fmla="*/ 109919 w 117896"/>
                  <a:gd name="connsiteY21" fmla="*/ 6863 h 13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7896" h="139641">
                    <a:moveTo>
                      <a:pt x="109919" y="6863"/>
                    </a:moveTo>
                    <a:cubicBezTo>
                      <a:pt x="113348" y="3053"/>
                      <a:pt x="112967" y="5"/>
                      <a:pt x="109156" y="5"/>
                    </a:cubicBezTo>
                    <a:lnTo>
                      <a:pt x="90488" y="5"/>
                    </a:lnTo>
                    <a:cubicBezTo>
                      <a:pt x="86677" y="5"/>
                      <a:pt x="84773" y="-376"/>
                      <a:pt x="78677" y="5720"/>
                    </a:cubicBezTo>
                    <a:lnTo>
                      <a:pt x="26479" y="62298"/>
                    </a:lnTo>
                    <a:lnTo>
                      <a:pt x="26384" y="6958"/>
                    </a:lnTo>
                    <a:cubicBezTo>
                      <a:pt x="26384" y="3148"/>
                      <a:pt x="23336" y="100"/>
                      <a:pt x="19526" y="100"/>
                    </a:cubicBezTo>
                    <a:lnTo>
                      <a:pt x="6858" y="100"/>
                    </a:lnTo>
                    <a:cubicBezTo>
                      <a:pt x="3048" y="100"/>
                      <a:pt x="0" y="3148"/>
                      <a:pt x="0" y="6958"/>
                    </a:cubicBezTo>
                    <a:lnTo>
                      <a:pt x="0" y="132783"/>
                    </a:lnTo>
                    <a:cubicBezTo>
                      <a:pt x="0" y="136593"/>
                      <a:pt x="3048" y="139641"/>
                      <a:pt x="6858" y="139641"/>
                    </a:cubicBezTo>
                    <a:lnTo>
                      <a:pt x="19622" y="139641"/>
                    </a:lnTo>
                    <a:cubicBezTo>
                      <a:pt x="23431" y="139641"/>
                      <a:pt x="26479" y="136593"/>
                      <a:pt x="26479" y="132783"/>
                    </a:cubicBezTo>
                    <a:lnTo>
                      <a:pt x="26479" y="99922"/>
                    </a:lnTo>
                    <a:lnTo>
                      <a:pt x="49625" y="74871"/>
                    </a:lnTo>
                    <a:lnTo>
                      <a:pt x="85439" y="132783"/>
                    </a:lnTo>
                    <a:cubicBezTo>
                      <a:pt x="87725" y="136593"/>
                      <a:pt x="91059" y="139641"/>
                      <a:pt x="94869" y="139641"/>
                    </a:cubicBezTo>
                    <a:lnTo>
                      <a:pt x="114014" y="139641"/>
                    </a:lnTo>
                    <a:cubicBezTo>
                      <a:pt x="117824" y="139641"/>
                      <a:pt x="119063" y="136593"/>
                      <a:pt x="116681" y="132783"/>
                    </a:cubicBezTo>
                    <a:lnTo>
                      <a:pt x="67247" y="55154"/>
                    </a:lnTo>
                    <a:lnTo>
                      <a:pt x="109919" y="6863"/>
                    </a:lnTo>
                    <a:lnTo>
                      <a:pt x="109919" y="686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CF87FA8A-AC03-4E2D-AC1B-D7259C6B2FC4}"/>
                  </a:ext>
                </a:extLst>
              </p:cNvPr>
              <p:cNvSpPr/>
              <p:nvPr/>
            </p:nvSpPr>
            <p:spPr bwMode="gray">
              <a:xfrm>
                <a:off x="8399217" y="242459"/>
                <a:ext cx="27717" cy="139541"/>
              </a:xfrm>
              <a:custGeom>
                <a:avLst/>
                <a:gdLst>
                  <a:gd name="connsiteX0" fmla="*/ 0 w 27717"/>
                  <a:gd name="connsiteY0" fmla="*/ 132683 h 139541"/>
                  <a:gd name="connsiteX1" fmla="*/ 6858 w 27717"/>
                  <a:gd name="connsiteY1" fmla="*/ 139541 h 139541"/>
                  <a:gd name="connsiteX2" fmla="*/ 20765 w 27717"/>
                  <a:gd name="connsiteY2" fmla="*/ 139541 h 139541"/>
                  <a:gd name="connsiteX3" fmla="*/ 27623 w 27717"/>
                  <a:gd name="connsiteY3" fmla="*/ 132683 h 139541"/>
                  <a:gd name="connsiteX4" fmla="*/ 27718 w 27717"/>
                  <a:gd name="connsiteY4" fmla="*/ 6858 h 139541"/>
                  <a:gd name="connsiteX5" fmla="*/ 20860 w 27717"/>
                  <a:gd name="connsiteY5" fmla="*/ 0 h 139541"/>
                  <a:gd name="connsiteX6" fmla="*/ 6953 w 27717"/>
                  <a:gd name="connsiteY6" fmla="*/ 0 h 139541"/>
                  <a:gd name="connsiteX7" fmla="*/ 95 w 27717"/>
                  <a:gd name="connsiteY7" fmla="*/ 6858 h 139541"/>
                  <a:gd name="connsiteX8" fmla="*/ 0 w 27717"/>
                  <a:gd name="connsiteY8" fmla="*/ 132683 h 139541"/>
                  <a:gd name="connsiteX9" fmla="*/ 0 w 27717"/>
                  <a:gd name="connsiteY9" fmla="*/ 132683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717" h="139541">
                    <a:moveTo>
                      <a:pt x="0" y="132683"/>
                    </a:moveTo>
                    <a:cubicBezTo>
                      <a:pt x="0" y="136493"/>
                      <a:pt x="3048" y="139541"/>
                      <a:pt x="6858" y="139541"/>
                    </a:cubicBezTo>
                    <a:lnTo>
                      <a:pt x="20765" y="139541"/>
                    </a:lnTo>
                    <a:cubicBezTo>
                      <a:pt x="24575" y="139541"/>
                      <a:pt x="27623" y="136493"/>
                      <a:pt x="27623" y="132683"/>
                    </a:cubicBezTo>
                    <a:lnTo>
                      <a:pt x="27718" y="6858"/>
                    </a:lnTo>
                    <a:cubicBezTo>
                      <a:pt x="27718" y="3048"/>
                      <a:pt x="24670" y="0"/>
                      <a:pt x="20860" y="0"/>
                    </a:cubicBezTo>
                    <a:lnTo>
                      <a:pt x="6953" y="0"/>
                    </a:lnTo>
                    <a:cubicBezTo>
                      <a:pt x="3143" y="0"/>
                      <a:pt x="95" y="3048"/>
                      <a:pt x="95" y="6858"/>
                    </a:cubicBezTo>
                    <a:lnTo>
                      <a:pt x="0" y="132683"/>
                    </a:lnTo>
                    <a:lnTo>
                      <a:pt x="0" y="13268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A5FD3213-8EE9-4F99-AB14-DB2849CE1C80}"/>
                  </a:ext>
                </a:extLst>
              </p:cNvPr>
              <p:cNvSpPr/>
              <p:nvPr/>
            </p:nvSpPr>
            <p:spPr bwMode="gray">
              <a:xfrm>
                <a:off x="8455889" y="242554"/>
                <a:ext cx="110490" cy="139541"/>
              </a:xfrm>
              <a:custGeom>
                <a:avLst/>
                <a:gdLst>
                  <a:gd name="connsiteX0" fmla="*/ 82963 w 110490"/>
                  <a:gd name="connsiteY0" fmla="*/ 6858 h 139541"/>
                  <a:gd name="connsiteX1" fmla="*/ 89821 w 110490"/>
                  <a:gd name="connsiteY1" fmla="*/ 0 h 139541"/>
                  <a:gd name="connsiteX2" fmla="*/ 103632 w 110490"/>
                  <a:gd name="connsiteY2" fmla="*/ 0 h 139541"/>
                  <a:gd name="connsiteX3" fmla="*/ 110490 w 110490"/>
                  <a:gd name="connsiteY3" fmla="*/ 6858 h 139541"/>
                  <a:gd name="connsiteX4" fmla="*/ 110490 w 110490"/>
                  <a:gd name="connsiteY4" fmla="*/ 132683 h 139541"/>
                  <a:gd name="connsiteX5" fmla="*/ 103632 w 110490"/>
                  <a:gd name="connsiteY5" fmla="*/ 139541 h 139541"/>
                  <a:gd name="connsiteX6" fmla="*/ 89916 w 110490"/>
                  <a:gd name="connsiteY6" fmla="*/ 139541 h 139541"/>
                  <a:gd name="connsiteX7" fmla="*/ 83058 w 110490"/>
                  <a:gd name="connsiteY7" fmla="*/ 132683 h 139541"/>
                  <a:gd name="connsiteX8" fmla="*/ 82963 w 110490"/>
                  <a:gd name="connsiteY8" fmla="*/ 80867 h 139541"/>
                  <a:gd name="connsiteX9" fmla="*/ 27527 w 110490"/>
                  <a:gd name="connsiteY9" fmla="*/ 80867 h 139541"/>
                  <a:gd name="connsiteX10" fmla="*/ 27527 w 110490"/>
                  <a:gd name="connsiteY10" fmla="*/ 132683 h 139541"/>
                  <a:gd name="connsiteX11" fmla="*/ 20669 w 110490"/>
                  <a:gd name="connsiteY11" fmla="*/ 139541 h 139541"/>
                  <a:gd name="connsiteX12" fmla="*/ 6858 w 110490"/>
                  <a:gd name="connsiteY12" fmla="*/ 139541 h 139541"/>
                  <a:gd name="connsiteX13" fmla="*/ 0 w 110490"/>
                  <a:gd name="connsiteY13" fmla="*/ 132683 h 139541"/>
                  <a:gd name="connsiteX14" fmla="*/ 0 w 110490"/>
                  <a:gd name="connsiteY14" fmla="*/ 6858 h 139541"/>
                  <a:gd name="connsiteX15" fmla="*/ 6858 w 110490"/>
                  <a:gd name="connsiteY15" fmla="*/ 0 h 139541"/>
                  <a:gd name="connsiteX16" fmla="*/ 20669 w 110490"/>
                  <a:gd name="connsiteY16" fmla="*/ 0 h 139541"/>
                  <a:gd name="connsiteX17" fmla="*/ 27527 w 110490"/>
                  <a:gd name="connsiteY17" fmla="*/ 6858 h 139541"/>
                  <a:gd name="connsiteX18" fmla="*/ 27432 w 110490"/>
                  <a:gd name="connsiteY18" fmla="*/ 57436 h 139541"/>
                  <a:gd name="connsiteX19" fmla="*/ 82868 w 110490"/>
                  <a:gd name="connsiteY19" fmla="*/ 57436 h 139541"/>
                  <a:gd name="connsiteX20" fmla="*/ 82963 w 110490"/>
                  <a:gd name="connsiteY20" fmla="*/ 6858 h 139541"/>
                  <a:gd name="connsiteX21" fmla="*/ 82963 w 110490"/>
                  <a:gd name="connsiteY21" fmla="*/ 6858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490" h="139541">
                    <a:moveTo>
                      <a:pt x="82963" y="6858"/>
                    </a:moveTo>
                    <a:cubicBezTo>
                      <a:pt x="82963" y="3048"/>
                      <a:pt x="86011" y="0"/>
                      <a:pt x="89821" y="0"/>
                    </a:cubicBezTo>
                    <a:lnTo>
                      <a:pt x="103632" y="0"/>
                    </a:lnTo>
                    <a:cubicBezTo>
                      <a:pt x="107442" y="0"/>
                      <a:pt x="110490" y="3048"/>
                      <a:pt x="110490" y="6858"/>
                    </a:cubicBezTo>
                    <a:lnTo>
                      <a:pt x="110490" y="132683"/>
                    </a:lnTo>
                    <a:cubicBezTo>
                      <a:pt x="110490" y="136493"/>
                      <a:pt x="107442" y="139541"/>
                      <a:pt x="103632" y="139541"/>
                    </a:cubicBezTo>
                    <a:lnTo>
                      <a:pt x="89916" y="139541"/>
                    </a:lnTo>
                    <a:cubicBezTo>
                      <a:pt x="86106" y="139541"/>
                      <a:pt x="83058" y="136493"/>
                      <a:pt x="83058" y="132683"/>
                    </a:cubicBezTo>
                    <a:lnTo>
                      <a:pt x="82963" y="80867"/>
                    </a:lnTo>
                    <a:lnTo>
                      <a:pt x="27527" y="80867"/>
                    </a:lnTo>
                    <a:lnTo>
                      <a:pt x="27527" y="132683"/>
                    </a:lnTo>
                    <a:cubicBezTo>
                      <a:pt x="27527" y="136493"/>
                      <a:pt x="24479" y="139541"/>
                      <a:pt x="20669" y="139541"/>
                    </a:cubicBezTo>
                    <a:lnTo>
                      <a:pt x="6858" y="139541"/>
                    </a:lnTo>
                    <a:cubicBezTo>
                      <a:pt x="3048" y="139541"/>
                      <a:pt x="0" y="136493"/>
                      <a:pt x="0" y="132683"/>
                    </a:cubicBezTo>
                    <a:lnTo>
                      <a:pt x="0" y="6858"/>
                    </a:lnTo>
                    <a:cubicBezTo>
                      <a:pt x="0" y="3048"/>
                      <a:pt x="3048" y="0"/>
                      <a:pt x="6858" y="0"/>
                    </a:cubicBezTo>
                    <a:lnTo>
                      <a:pt x="20669" y="0"/>
                    </a:lnTo>
                    <a:cubicBezTo>
                      <a:pt x="24479" y="0"/>
                      <a:pt x="27527" y="3048"/>
                      <a:pt x="27527" y="6858"/>
                    </a:cubicBezTo>
                    <a:lnTo>
                      <a:pt x="27432" y="57436"/>
                    </a:lnTo>
                    <a:lnTo>
                      <a:pt x="82868" y="57436"/>
                    </a:lnTo>
                    <a:lnTo>
                      <a:pt x="82963" y="6858"/>
                    </a:lnTo>
                    <a:lnTo>
                      <a:pt x="82963" y="685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  <p:sp>
          <p:nvSpPr>
            <p:cNvPr id="38" name="Gleichschenkliges Dreieck 37">
              <a:extLst>
                <a:ext uri="{FF2B5EF4-FFF2-40B4-BE49-F238E27FC236}">
                  <a16:creationId xmlns:a16="http://schemas.microsoft.com/office/drawing/2014/main" id="{873D85D6-9EC5-46AE-9E2B-B4A2944F7B06}"/>
                </a:ext>
              </a:extLst>
            </p:cNvPr>
            <p:cNvSpPr/>
            <p:nvPr/>
          </p:nvSpPr>
          <p:spPr>
            <a:xfrm rot="7860000">
              <a:off x="1856408" y="3738519"/>
              <a:ext cx="178430" cy="159486"/>
            </a:xfrm>
            <a:prstGeom prst="triangle">
              <a:avLst>
                <a:gd name="adj" fmla="val 5214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6DD46304-09BA-4A15-BEA5-3D9050ED9A90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738913" y="3946194"/>
              <a:ext cx="195262" cy="199110"/>
            </a:xfrm>
            <a:prstGeom prst="line">
              <a:avLst/>
            </a:prstGeom>
            <a:ln w="19050" cap="sq">
              <a:solidFill>
                <a:srgbClr val="BDC5D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C582DC96-DFCE-4597-930E-774A6D161B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24026" y="3706926"/>
              <a:ext cx="216000" cy="226800"/>
            </a:xfrm>
            <a:prstGeom prst="line">
              <a:avLst/>
            </a:prstGeom>
            <a:ln w="19050" cap="sq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Gleichschenkliges Dreieck 40">
              <a:extLst>
                <a:ext uri="{FF2B5EF4-FFF2-40B4-BE49-F238E27FC236}">
                  <a16:creationId xmlns:a16="http://schemas.microsoft.com/office/drawing/2014/main" id="{8117F4D7-E501-4723-B0B5-ACB958E436A4}"/>
                </a:ext>
              </a:extLst>
            </p:cNvPr>
            <p:cNvSpPr/>
            <p:nvPr/>
          </p:nvSpPr>
          <p:spPr>
            <a:xfrm rot="2760000">
              <a:off x="1869700" y="3951490"/>
              <a:ext cx="160587" cy="177207"/>
            </a:xfrm>
            <a:prstGeom prst="triangle">
              <a:avLst>
                <a:gd name="adj" fmla="val 52148"/>
              </a:avLst>
            </a:prstGeom>
            <a:solidFill>
              <a:srgbClr val="BDC5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4435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ildplatzhalter 6" descr="Ein Bild, das draußen, Foto, Straße, Gebäude enthält.&#10;&#10;Automatisch generierte Beschreibung">
            <a:extLst>
              <a:ext uri="{FF2B5EF4-FFF2-40B4-BE49-F238E27FC236}">
                <a16:creationId xmlns:a16="http://schemas.microsoft.com/office/drawing/2014/main" id="{8EF909E8-57AF-4CEC-AB77-55257653A3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88" b="-31257"/>
          <a:stretch/>
        </p:blipFill>
        <p:spPr bwMode="gray">
          <a:xfrm>
            <a:off x="0" y="253780"/>
            <a:ext cx="9144000" cy="3470098"/>
          </a:xfrm>
          <a:prstGeom prst="rect">
            <a:avLst/>
          </a:prstGeom>
        </p:spPr>
      </p:pic>
      <p:sp>
        <p:nvSpPr>
          <p:cNvPr id="37" name="Rechteck 36">
            <a:extLst>
              <a:ext uri="{FF2B5EF4-FFF2-40B4-BE49-F238E27FC236}">
                <a16:creationId xmlns:a16="http://schemas.microsoft.com/office/drawing/2014/main" id="{B11F6DC2-BE6A-400A-8FA1-CA9531D5ABFA}"/>
              </a:ext>
            </a:extLst>
          </p:cNvPr>
          <p:cNvSpPr/>
          <p:nvPr userDrawn="1"/>
        </p:nvSpPr>
        <p:spPr>
          <a:xfrm>
            <a:off x="-3809" y="2139702"/>
            <a:ext cx="9144000" cy="1330562"/>
          </a:xfrm>
          <a:prstGeom prst="rect">
            <a:avLst/>
          </a:prstGeom>
          <a:gradFill flip="none" rotWithShape="1">
            <a:gsLst>
              <a:gs pos="0">
                <a:srgbClr val="565656"/>
              </a:gs>
              <a:gs pos="59000">
                <a:srgbClr val="585858">
                  <a:shade val="67500"/>
                  <a:satMod val="115000"/>
                </a:srgbClr>
              </a:gs>
              <a:gs pos="100000">
                <a:srgbClr val="66666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7790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5A3ACC9-18FF-40A5-890D-49F66796A792}"/>
              </a:ext>
            </a:extLst>
          </p:cNvPr>
          <p:cNvSpPr/>
          <p:nvPr userDrawn="1"/>
        </p:nvSpPr>
        <p:spPr bwMode="gray">
          <a:xfrm>
            <a:off x="4260800" y="3469749"/>
            <a:ext cx="48832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60800" y="2202549"/>
            <a:ext cx="4881600" cy="1267200"/>
          </a:xfrm>
          <a:solidFill>
            <a:schemeClr val="accent1"/>
          </a:solidFill>
        </p:spPr>
        <p:txBody>
          <a:bodyPr lIns="360000" rIns="360000" anchor="ctr"/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0DDFBC0F-5C2D-4296-9BD2-08212B14804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646443" y="3469400"/>
            <a:ext cx="215995" cy="108000"/>
          </a:xfrm>
          <a:prstGeom prst="triangle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3366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60800" y="3470098"/>
            <a:ext cx="4881600" cy="576000"/>
          </a:xfrm>
          <a:prstGeom prst="rect">
            <a:avLst/>
          </a:prstGeom>
          <a:noFill/>
          <a:ln>
            <a:noFill/>
          </a:ln>
        </p:spPr>
        <p:txBody>
          <a:bodyPr lIns="360000" rIns="360000" anchor="ctr"/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BB91870-8B6B-44F4-8C93-5C0E780D17F5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70EFADB4-016E-4B33-8790-11A56A804D9E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D11445A3-A2A6-465D-8B34-E48D48B6EACE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8B014DEC-98C7-4D2E-B7C6-A47F68BDD78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7AB73926-F427-4847-9278-464B8C8BB1DB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00DAE0A-F534-47E4-A20A-6BD935B71D46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3C192E67-7316-4136-966F-586B6DA2DB9F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B277B64-1C27-4058-BB9D-4B3D2B398C05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50575BB-94E5-45C5-BA35-F45DCF30DB62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D8CD6AC-C476-4082-8F25-D99CE3E1542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1F9DF423-1598-4D30-BB68-13B4B661B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0DEFE313-F36A-483C-A7D0-4313F247F2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BFAB5E2B-8E39-44E7-B19A-33ED8081761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172AFAAB-2EAD-4C71-B14D-F2470FC173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F4665723-F552-42C4-B9B4-165AAA3C8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9" name="Grafik 58">
            <a:extLst>
              <a:ext uri="{FF2B5EF4-FFF2-40B4-BE49-F238E27FC236}">
                <a16:creationId xmlns:a16="http://schemas.microsoft.com/office/drawing/2014/main" id="{DD485E2D-A933-4AC0-9DF6-1D84EABAF0E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629275" y="4585654"/>
            <a:ext cx="3063875" cy="251757"/>
          </a:xfrm>
          <a:prstGeom prst="rect">
            <a:avLst/>
          </a:prstGeom>
        </p:spPr>
      </p:pic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694AF07-4D45-48AB-9759-7DD3CB42795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9655" y="4226127"/>
            <a:ext cx="1152541" cy="576000"/>
            <a:chOff x="1516529" y="3634540"/>
            <a:chExt cx="1240583" cy="558000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97EE448A-9A4E-421C-9425-02A6EB23531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516529" y="3634540"/>
              <a:ext cx="1240583" cy="558000"/>
              <a:chOff x="7856281" y="172641"/>
              <a:chExt cx="930500" cy="418528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15B1E8AD-A2D0-4548-82F5-AF24962C505C}"/>
                  </a:ext>
                </a:extLst>
              </p:cNvPr>
              <p:cNvSpPr/>
              <p:nvPr/>
            </p:nvSpPr>
            <p:spPr bwMode="gray">
              <a:xfrm>
                <a:off x="7856281" y="172641"/>
                <a:ext cx="513034" cy="418528"/>
              </a:xfrm>
              <a:custGeom>
                <a:avLst/>
                <a:gdLst>
                  <a:gd name="connsiteX0" fmla="*/ 418433 w 453901"/>
                  <a:gd name="connsiteY0" fmla="*/ 0 h 418528"/>
                  <a:gd name="connsiteX1" fmla="*/ 0 w 453901"/>
                  <a:gd name="connsiteY1" fmla="*/ 0 h 418528"/>
                  <a:gd name="connsiteX2" fmla="*/ 0 w 453901"/>
                  <a:gd name="connsiteY2" fmla="*/ 418529 h 418528"/>
                  <a:gd name="connsiteX3" fmla="*/ 418433 w 453901"/>
                  <a:gd name="connsiteY3" fmla="*/ 418529 h 418528"/>
                  <a:gd name="connsiteX4" fmla="*/ 418433 w 453901"/>
                  <a:gd name="connsiteY4" fmla="*/ 0 h 418528"/>
                  <a:gd name="connsiteX5" fmla="*/ 418433 w 453901"/>
                  <a:gd name="connsiteY5" fmla="*/ 0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901" h="418528">
                    <a:moveTo>
                      <a:pt x="418433" y="0"/>
                    </a:moveTo>
                    <a:lnTo>
                      <a:pt x="0" y="0"/>
                    </a:lnTo>
                    <a:lnTo>
                      <a:pt x="0" y="418529"/>
                    </a:lnTo>
                    <a:lnTo>
                      <a:pt x="418433" y="418529"/>
                    </a:lnTo>
                    <a:cubicBezTo>
                      <a:pt x="465677" y="283750"/>
                      <a:pt x="465773" y="134874"/>
                      <a:pt x="418433" y="0"/>
                    </a:cubicBezTo>
                    <a:lnTo>
                      <a:pt x="418433" y="0"/>
                    </a:lnTo>
                    <a:close/>
                  </a:path>
                </a:pathLst>
              </a:custGeom>
              <a:solidFill>
                <a:srgbClr val="CAD2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0311DC16-B277-4DB9-98A8-915FDAF652FD}"/>
                  </a:ext>
                </a:extLst>
              </p:cNvPr>
              <p:cNvSpPr/>
              <p:nvPr/>
            </p:nvSpPr>
            <p:spPr bwMode="gray">
              <a:xfrm>
                <a:off x="8322350" y="172641"/>
                <a:ext cx="464431" cy="418528"/>
              </a:xfrm>
              <a:custGeom>
                <a:avLst/>
                <a:gdLst>
                  <a:gd name="connsiteX0" fmla="*/ 418433 w 418433"/>
                  <a:gd name="connsiteY0" fmla="*/ 418529 h 418528"/>
                  <a:gd name="connsiteX1" fmla="*/ 0 w 418433"/>
                  <a:gd name="connsiteY1" fmla="*/ 418529 h 418528"/>
                  <a:gd name="connsiteX2" fmla="*/ 0 w 418433"/>
                  <a:gd name="connsiteY2" fmla="*/ 0 h 418528"/>
                  <a:gd name="connsiteX3" fmla="*/ 418433 w 418433"/>
                  <a:gd name="connsiteY3" fmla="*/ 0 h 418528"/>
                  <a:gd name="connsiteX4" fmla="*/ 418433 w 418433"/>
                  <a:gd name="connsiteY4" fmla="*/ 418529 h 418528"/>
                  <a:gd name="connsiteX5" fmla="*/ 418433 w 418433"/>
                  <a:gd name="connsiteY5" fmla="*/ 418529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8433" h="418528">
                    <a:moveTo>
                      <a:pt x="418433" y="418529"/>
                    </a:moveTo>
                    <a:lnTo>
                      <a:pt x="0" y="418529"/>
                    </a:lnTo>
                    <a:cubicBezTo>
                      <a:pt x="47244" y="283750"/>
                      <a:pt x="47339" y="134969"/>
                      <a:pt x="0" y="0"/>
                    </a:cubicBezTo>
                    <a:lnTo>
                      <a:pt x="418433" y="0"/>
                    </a:lnTo>
                    <a:lnTo>
                      <a:pt x="418433" y="418529"/>
                    </a:lnTo>
                    <a:lnTo>
                      <a:pt x="418433" y="4185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D61C0211-9038-4A3D-B458-62E00EAB876A}"/>
                  </a:ext>
                </a:extLst>
              </p:cNvPr>
              <p:cNvSpPr/>
              <p:nvPr/>
            </p:nvSpPr>
            <p:spPr bwMode="gray">
              <a:xfrm>
                <a:off x="8595431" y="242549"/>
                <a:ext cx="117896" cy="139641"/>
              </a:xfrm>
              <a:custGeom>
                <a:avLst/>
                <a:gdLst>
                  <a:gd name="connsiteX0" fmla="*/ 109919 w 117896"/>
                  <a:gd name="connsiteY0" fmla="*/ 6863 h 139641"/>
                  <a:gd name="connsiteX1" fmla="*/ 109156 w 117896"/>
                  <a:gd name="connsiteY1" fmla="*/ 5 h 139641"/>
                  <a:gd name="connsiteX2" fmla="*/ 90488 w 117896"/>
                  <a:gd name="connsiteY2" fmla="*/ 5 h 139641"/>
                  <a:gd name="connsiteX3" fmla="*/ 78677 w 117896"/>
                  <a:gd name="connsiteY3" fmla="*/ 5720 h 139641"/>
                  <a:gd name="connsiteX4" fmla="*/ 26479 w 117896"/>
                  <a:gd name="connsiteY4" fmla="*/ 62298 h 139641"/>
                  <a:gd name="connsiteX5" fmla="*/ 26384 w 117896"/>
                  <a:gd name="connsiteY5" fmla="*/ 6958 h 139641"/>
                  <a:gd name="connsiteX6" fmla="*/ 19526 w 117896"/>
                  <a:gd name="connsiteY6" fmla="*/ 100 h 139641"/>
                  <a:gd name="connsiteX7" fmla="*/ 6858 w 117896"/>
                  <a:gd name="connsiteY7" fmla="*/ 100 h 139641"/>
                  <a:gd name="connsiteX8" fmla="*/ 0 w 117896"/>
                  <a:gd name="connsiteY8" fmla="*/ 6958 h 139641"/>
                  <a:gd name="connsiteX9" fmla="*/ 0 w 117896"/>
                  <a:gd name="connsiteY9" fmla="*/ 132783 h 139641"/>
                  <a:gd name="connsiteX10" fmla="*/ 6858 w 117896"/>
                  <a:gd name="connsiteY10" fmla="*/ 139641 h 139641"/>
                  <a:gd name="connsiteX11" fmla="*/ 19622 w 117896"/>
                  <a:gd name="connsiteY11" fmla="*/ 139641 h 139641"/>
                  <a:gd name="connsiteX12" fmla="*/ 26479 w 117896"/>
                  <a:gd name="connsiteY12" fmla="*/ 132783 h 139641"/>
                  <a:gd name="connsiteX13" fmla="*/ 26479 w 117896"/>
                  <a:gd name="connsiteY13" fmla="*/ 99922 h 139641"/>
                  <a:gd name="connsiteX14" fmla="*/ 49625 w 117896"/>
                  <a:gd name="connsiteY14" fmla="*/ 74871 h 139641"/>
                  <a:gd name="connsiteX15" fmla="*/ 85439 w 117896"/>
                  <a:gd name="connsiteY15" fmla="*/ 132783 h 139641"/>
                  <a:gd name="connsiteX16" fmla="*/ 94869 w 117896"/>
                  <a:gd name="connsiteY16" fmla="*/ 139641 h 139641"/>
                  <a:gd name="connsiteX17" fmla="*/ 114014 w 117896"/>
                  <a:gd name="connsiteY17" fmla="*/ 139641 h 139641"/>
                  <a:gd name="connsiteX18" fmla="*/ 116681 w 117896"/>
                  <a:gd name="connsiteY18" fmla="*/ 132783 h 139641"/>
                  <a:gd name="connsiteX19" fmla="*/ 67247 w 117896"/>
                  <a:gd name="connsiteY19" fmla="*/ 55154 h 139641"/>
                  <a:gd name="connsiteX20" fmla="*/ 109919 w 117896"/>
                  <a:gd name="connsiteY20" fmla="*/ 6863 h 139641"/>
                  <a:gd name="connsiteX21" fmla="*/ 109919 w 117896"/>
                  <a:gd name="connsiteY21" fmla="*/ 6863 h 13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7896" h="139641">
                    <a:moveTo>
                      <a:pt x="109919" y="6863"/>
                    </a:moveTo>
                    <a:cubicBezTo>
                      <a:pt x="113348" y="3053"/>
                      <a:pt x="112967" y="5"/>
                      <a:pt x="109156" y="5"/>
                    </a:cubicBezTo>
                    <a:lnTo>
                      <a:pt x="90488" y="5"/>
                    </a:lnTo>
                    <a:cubicBezTo>
                      <a:pt x="86677" y="5"/>
                      <a:pt x="84773" y="-376"/>
                      <a:pt x="78677" y="5720"/>
                    </a:cubicBezTo>
                    <a:lnTo>
                      <a:pt x="26479" y="62298"/>
                    </a:lnTo>
                    <a:lnTo>
                      <a:pt x="26384" y="6958"/>
                    </a:lnTo>
                    <a:cubicBezTo>
                      <a:pt x="26384" y="3148"/>
                      <a:pt x="23336" y="100"/>
                      <a:pt x="19526" y="100"/>
                    </a:cubicBezTo>
                    <a:lnTo>
                      <a:pt x="6858" y="100"/>
                    </a:lnTo>
                    <a:cubicBezTo>
                      <a:pt x="3048" y="100"/>
                      <a:pt x="0" y="3148"/>
                      <a:pt x="0" y="6958"/>
                    </a:cubicBezTo>
                    <a:lnTo>
                      <a:pt x="0" y="132783"/>
                    </a:lnTo>
                    <a:cubicBezTo>
                      <a:pt x="0" y="136593"/>
                      <a:pt x="3048" y="139641"/>
                      <a:pt x="6858" y="139641"/>
                    </a:cubicBezTo>
                    <a:lnTo>
                      <a:pt x="19622" y="139641"/>
                    </a:lnTo>
                    <a:cubicBezTo>
                      <a:pt x="23431" y="139641"/>
                      <a:pt x="26479" y="136593"/>
                      <a:pt x="26479" y="132783"/>
                    </a:cubicBezTo>
                    <a:lnTo>
                      <a:pt x="26479" y="99922"/>
                    </a:lnTo>
                    <a:lnTo>
                      <a:pt x="49625" y="74871"/>
                    </a:lnTo>
                    <a:lnTo>
                      <a:pt x="85439" y="132783"/>
                    </a:lnTo>
                    <a:cubicBezTo>
                      <a:pt x="87725" y="136593"/>
                      <a:pt x="91059" y="139641"/>
                      <a:pt x="94869" y="139641"/>
                    </a:cubicBezTo>
                    <a:lnTo>
                      <a:pt x="114014" y="139641"/>
                    </a:lnTo>
                    <a:cubicBezTo>
                      <a:pt x="117824" y="139641"/>
                      <a:pt x="119063" y="136593"/>
                      <a:pt x="116681" y="132783"/>
                    </a:cubicBezTo>
                    <a:lnTo>
                      <a:pt x="67247" y="55154"/>
                    </a:lnTo>
                    <a:lnTo>
                      <a:pt x="109919" y="6863"/>
                    </a:lnTo>
                    <a:lnTo>
                      <a:pt x="109919" y="686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74B1FA4D-6B90-4BEF-9022-2309746581B4}"/>
                  </a:ext>
                </a:extLst>
              </p:cNvPr>
              <p:cNvSpPr/>
              <p:nvPr/>
            </p:nvSpPr>
            <p:spPr bwMode="gray">
              <a:xfrm>
                <a:off x="8399217" y="242459"/>
                <a:ext cx="27717" cy="139541"/>
              </a:xfrm>
              <a:custGeom>
                <a:avLst/>
                <a:gdLst>
                  <a:gd name="connsiteX0" fmla="*/ 0 w 27717"/>
                  <a:gd name="connsiteY0" fmla="*/ 132683 h 139541"/>
                  <a:gd name="connsiteX1" fmla="*/ 6858 w 27717"/>
                  <a:gd name="connsiteY1" fmla="*/ 139541 h 139541"/>
                  <a:gd name="connsiteX2" fmla="*/ 20765 w 27717"/>
                  <a:gd name="connsiteY2" fmla="*/ 139541 h 139541"/>
                  <a:gd name="connsiteX3" fmla="*/ 27623 w 27717"/>
                  <a:gd name="connsiteY3" fmla="*/ 132683 h 139541"/>
                  <a:gd name="connsiteX4" fmla="*/ 27718 w 27717"/>
                  <a:gd name="connsiteY4" fmla="*/ 6858 h 139541"/>
                  <a:gd name="connsiteX5" fmla="*/ 20860 w 27717"/>
                  <a:gd name="connsiteY5" fmla="*/ 0 h 139541"/>
                  <a:gd name="connsiteX6" fmla="*/ 6953 w 27717"/>
                  <a:gd name="connsiteY6" fmla="*/ 0 h 139541"/>
                  <a:gd name="connsiteX7" fmla="*/ 95 w 27717"/>
                  <a:gd name="connsiteY7" fmla="*/ 6858 h 139541"/>
                  <a:gd name="connsiteX8" fmla="*/ 0 w 27717"/>
                  <a:gd name="connsiteY8" fmla="*/ 132683 h 139541"/>
                  <a:gd name="connsiteX9" fmla="*/ 0 w 27717"/>
                  <a:gd name="connsiteY9" fmla="*/ 132683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717" h="139541">
                    <a:moveTo>
                      <a:pt x="0" y="132683"/>
                    </a:moveTo>
                    <a:cubicBezTo>
                      <a:pt x="0" y="136493"/>
                      <a:pt x="3048" y="139541"/>
                      <a:pt x="6858" y="139541"/>
                    </a:cubicBezTo>
                    <a:lnTo>
                      <a:pt x="20765" y="139541"/>
                    </a:lnTo>
                    <a:cubicBezTo>
                      <a:pt x="24575" y="139541"/>
                      <a:pt x="27623" y="136493"/>
                      <a:pt x="27623" y="132683"/>
                    </a:cubicBezTo>
                    <a:lnTo>
                      <a:pt x="27718" y="6858"/>
                    </a:lnTo>
                    <a:cubicBezTo>
                      <a:pt x="27718" y="3048"/>
                      <a:pt x="24670" y="0"/>
                      <a:pt x="20860" y="0"/>
                    </a:cubicBezTo>
                    <a:lnTo>
                      <a:pt x="6953" y="0"/>
                    </a:lnTo>
                    <a:cubicBezTo>
                      <a:pt x="3143" y="0"/>
                      <a:pt x="95" y="3048"/>
                      <a:pt x="95" y="6858"/>
                    </a:cubicBezTo>
                    <a:lnTo>
                      <a:pt x="0" y="132683"/>
                    </a:lnTo>
                    <a:lnTo>
                      <a:pt x="0" y="13268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41E5F69E-0E83-4F37-A0E0-32845FCC6775}"/>
                  </a:ext>
                </a:extLst>
              </p:cNvPr>
              <p:cNvSpPr/>
              <p:nvPr/>
            </p:nvSpPr>
            <p:spPr bwMode="gray">
              <a:xfrm>
                <a:off x="8455889" y="242554"/>
                <a:ext cx="110490" cy="139541"/>
              </a:xfrm>
              <a:custGeom>
                <a:avLst/>
                <a:gdLst>
                  <a:gd name="connsiteX0" fmla="*/ 82963 w 110490"/>
                  <a:gd name="connsiteY0" fmla="*/ 6858 h 139541"/>
                  <a:gd name="connsiteX1" fmla="*/ 89821 w 110490"/>
                  <a:gd name="connsiteY1" fmla="*/ 0 h 139541"/>
                  <a:gd name="connsiteX2" fmla="*/ 103632 w 110490"/>
                  <a:gd name="connsiteY2" fmla="*/ 0 h 139541"/>
                  <a:gd name="connsiteX3" fmla="*/ 110490 w 110490"/>
                  <a:gd name="connsiteY3" fmla="*/ 6858 h 139541"/>
                  <a:gd name="connsiteX4" fmla="*/ 110490 w 110490"/>
                  <a:gd name="connsiteY4" fmla="*/ 132683 h 139541"/>
                  <a:gd name="connsiteX5" fmla="*/ 103632 w 110490"/>
                  <a:gd name="connsiteY5" fmla="*/ 139541 h 139541"/>
                  <a:gd name="connsiteX6" fmla="*/ 89916 w 110490"/>
                  <a:gd name="connsiteY6" fmla="*/ 139541 h 139541"/>
                  <a:gd name="connsiteX7" fmla="*/ 83058 w 110490"/>
                  <a:gd name="connsiteY7" fmla="*/ 132683 h 139541"/>
                  <a:gd name="connsiteX8" fmla="*/ 82963 w 110490"/>
                  <a:gd name="connsiteY8" fmla="*/ 80867 h 139541"/>
                  <a:gd name="connsiteX9" fmla="*/ 27527 w 110490"/>
                  <a:gd name="connsiteY9" fmla="*/ 80867 h 139541"/>
                  <a:gd name="connsiteX10" fmla="*/ 27527 w 110490"/>
                  <a:gd name="connsiteY10" fmla="*/ 132683 h 139541"/>
                  <a:gd name="connsiteX11" fmla="*/ 20669 w 110490"/>
                  <a:gd name="connsiteY11" fmla="*/ 139541 h 139541"/>
                  <a:gd name="connsiteX12" fmla="*/ 6858 w 110490"/>
                  <a:gd name="connsiteY12" fmla="*/ 139541 h 139541"/>
                  <a:gd name="connsiteX13" fmla="*/ 0 w 110490"/>
                  <a:gd name="connsiteY13" fmla="*/ 132683 h 139541"/>
                  <a:gd name="connsiteX14" fmla="*/ 0 w 110490"/>
                  <a:gd name="connsiteY14" fmla="*/ 6858 h 139541"/>
                  <a:gd name="connsiteX15" fmla="*/ 6858 w 110490"/>
                  <a:gd name="connsiteY15" fmla="*/ 0 h 139541"/>
                  <a:gd name="connsiteX16" fmla="*/ 20669 w 110490"/>
                  <a:gd name="connsiteY16" fmla="*/ 0 h 139541"/>
                  <a:gd name="connsiteX17" fmla="*/ 27527 w 110490"/>
                  <a:gd name="connsiteY17" fmla="*/ 6858 h 139541"/>
                  <a:gd name="connsiteX18" fmla="*/ 27432 w 110490"/>
                  <a:gd name="connsiteY18" fmla="*/ 57436 h 139541"/>
                  <a:gd name="connsiteX19" fmla="*/ 82868 w 110490"/>
                  <a:gd name="connsiteY19" fmla="*/ 57436 h 139541"/>
                  <a:gd name="connsiteX20" fmla="*/ 82963 w 110490"/>
                  <a:gd name="connsiteY20" fmla="*/ 6858 h 139541"/>
                  <a:gd name="connsiteX21" fmla="*/ 82963 w 110490"/>
                  <a:gd name="connsiteY21" fmla="*/ 6858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490" h="139541">
                    <a:moveTo>
                      <a:pt x="82963" y="6858"/>
                    </a:moveTo>
                    <a:cubicBezTo>
                      <a:pt x="82963" y="3048"/>
                      <a:pt x="86011" y="0"/>
                      <a:pt x="89821" y="0"/>
                    </a:cubicBezTo>
                    <a:lnTo>
                      <a:pt x="103632" y="0"/>
                    </a:lnTo>
                    <a:cubicBezTo>
                      <a:pt x="107442" y="0"/>
                      <a:pt x="110490" y="3048"/>
                      <a:pt x="110490" y="6858"/>
                    </a:cubicBezTo>
                    <a:lnTo>
                      <a:pt x="110490" y="132683"/>
                    </a:lnTo>
                    <a:cubicBezTo>
                      <a:pt x="110490" y="136493"/>
                      <a:pt x="107442" y="139541"/>
                      <a:pt x="103632" y="139541"/>
                    </a:cubicBezTo>
                    <a:lnTo>
                      <a:pt x="89916" y="139541"/>
                    </a:lnTo>
                    <a:cubicBezTo>
                      <a:pt x="86106" y="139541"/>
                      <a:pt x="83058" y="136493"/>
                      <a:pt x="83058" y="132683"/>
                    </a:cubicBezTo>
                    <a:lnTo>
                      <a:pt x="82963" y="80867"/>
                    </a:lnTo>
                    <a:lnTo>
                      <a:pt x="27527" y="80867"/>
                    </a:lnTo>
                    <a:lnTo>
                      <a:pt x="27527" y="132683"/>
                    </a:lnTo>
                    <a:cubicBezTo>
                      <a:pt x="27527" y="136493"/>
                      <a:pt x="24479" y="139541"/>
                      <a:pt x="20669" y="139541"/>
                    </a:cubicBezTo>
                    <a:lnTo>
                      <a:pt x="6858" y="139541"/>
                    </a:lnTo>
                    <a:cubicBezTo>
                      <a:pt x="3048" y="139541"/>
                      <a:pt x="0" y="136493"/>
                      <a:pt x="0" y="132683"/>
                    </a:cubicBezTo>
                    <a:lnTo>
                      <a:pt x="0" y="6858"/>
                    </a:lnTo>
                    <a:cubicBezTo>
                      <a:pt x="0" y="3048"/>
                      <a:pt x="3048" y="0"/>
                      <a:pt x="6858" y="0"/>
                    </a:cubicBezTo>
                    <a:lnTo>
                      <a:pt x="20669" y="0"/>
                    </a:lnTo>
                    <a:cubicBezTo>
                      <a:pt x="24479" y="0"/>
                      <a:pt x="27527" y="3048"/>
                      <a:pt x="27527" y="6858"/>
                    </a:cubicBezTo>
                    <a:lnTo>
                      <a:pt x="27432" y="57436"/>
                    </a:lnTo>
                    <a:lnTo>
                      <a:pt x="82868" y="57436"/>
                    </a:lnTo>
                    <a:lnTo>
                      <a:pt x="82963" y="6858"/>
                    </a:lnTo>
                    <a:lnTo>
                      <a:pt x="82963" y="685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  <p:sp>
          <p:nvSpPr>
            <p:cNvPr id="40" name="Gleichschenkliges Dreieck 39">
              <a:extLst>
                <a:ext uri="{FF2B5EF4-FFF2-40B4-BE49-F238E27FC236}">
                  <a16:creationId xmlns:a16="http://schemas.microsoft.com/office/drawing/2014/main" id="{D117A55D-01E0-4C9C-929D-FE1088364F04}"/>
                </a:ext>
              </a:extLst>
            </p:cNvPr>
            <p:cNvSpPr/>
            <p:nvPr/>
          </p:nvSpPr>
          <p:spPr>
            <a:xfrm rot="7860000">
              <a:off x="1856408" y="3738519"/>
              <a:ext cx="178430" cy="159486"/>
            </a:xfrm>
            <a:prstGeom prst="triangle">
              <a:avLst>
                <a:gd name="adj" fmla="val 5214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3A84ABE3-2743-4878-8879-AA239DA4922E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738913" y="3946194"/>
              <a:ext cx="195262" cy="199110"/>
            </a:xfrm>
            <a:prstGeom prst="line">
              <a:avLst/>
            </a:prstGeom>
            <a:ln w="19050" cap="sq">
              <a:solidFill>
                <a:srgbClr val="BDC5D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FC43E489-0C59-4F56-9B18-8DD916510D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24026" y="3706926"/>
              <a:ext cx="216000" cy="226800"/>
            </a:xfrm>
            <a:prstGeom prst="line">
              <a:avLst/>
            </a:prstGeom>
            <a:ln w="19050" cap="sq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Gleichschenkliges Dreieck 42">
              <a:extLst>
                <a:ext uri="{FF2B5EF4-FFF2-40B4-BE49-F238E27FC236}">
                  <a16:creationId xmlns:a16="http://schemas.microsoft.com/office/drawing/2014/main" id="{9892DB0F-C89B-489C-8F60-7A71E9AAD415}"/>
                </a:ext>
              </a:extLst>
            </p:cNvPr>
            <p:cNvSpPr/>
            <p:nvPr/>
          </p:nvSpPr>
          <p:spPr>
            <a:xfrm rot="2760000">
              <a:off x="1869700" y="3951490"/>
              <a:ext cx="160587" cy="177207"/>
            </a:xfrm>
            <a:prstGeom prst="triangle">
              <a:avLst>
                <a:gd name="adj" fmla="val 52148"/>
              </a:avLst>
            </a:prstGeom>
            <a:solidFill>
              <a:srgbClr val="BDC5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40964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2ECD246-8717-4DD6-8D29-C4FE616DD6CF}"/>
              </a:ext>
            </a:extLst>
          </p:cNvPr>
          <p:cNvSpPr/>
          <p:nvPr userDrawn="1"/>
        </p:nvSpPr>
        <p:spPr bwMode="gray">
          <a:xfrm>
            <a:off x="0" y="0"/>
            <a:ext cx="9144000" cy="514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37272" y="3387412"/>
            <a:ext cx="7004666" cy="861774"/>
          </a:xfrm>
          <a:noFill/>
        </p:spPr>
        <p:txBody>
          <a:bodyPr lIns="0" rIns="0" anchor="b" anchorCtr="0">
            <a:noAutofit/>
          </a:bodyPr>
          <a:lstStyle>
            <a:lvl1pPr algn="l">
              <a:spcBef>
                <a:spcPts val="0"/>
              </a:spcBef>
              <a:defRPr sz="2800" cap="none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Dies ist eine Kapitelüberschrift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37271" y="4306850"/>
            <a:ext cx="7004666" cy="215444"/>
          </a:xfrm>
          <a:prstGeom prst="rect">
            <a:avLst/>
          </a:prstGeom>
          <a:noFill/>
          <a:ln>
            <a:noFill/>
          </a:ln>
        </p:spPr>
        <p:txBody>
          <a:bodyPr lIns="0" r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5B8BB9FD-06D8-41C9-9AF0-50A0532B196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773473" y="206488"/>
            <a:ext cx="916268" cy="457919"/>
            <a:chOff x="1516529" y="3634540"/>
            <a:chExt cx="1240583" cy="558000"/>
          </a:xfrm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C274D8F9-A7D6-4FC1-BB44-8BC834D1C68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516529" y="3634540"/>
              <a:ext cx="1240583" cy="558000"/>
              <a:chOff x="7856281" y="172641"/>
              <a:chExt cx="930500" cy="418528"/>
            </a:xfrm>
          </p:grpSpPr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CD4686C4-68A7-48BB-AD5A-05FF4BDDE863}"/>
                  </a:ext>
                </a:extLst>
              </p:cNvPr>
              <p:cNvSpPr/>
              <p:nvPr/>
            </p:nvSpPr>
            <p:spPr bwMode="gray">
              <a:xfrm>
                <a:off x="7856281" y="172641"/>
                <a:ext cx="513034" cy="418528"/>
              </a:xfrm>
              <a:custGeom>
                <a:avLst/>
                <a:gdLst>
                  <a:gd name="connsiteX0" fmla="*/ 418433 w 453901"/>
                  <a:gd name="connsiteY0" fmla="*/ 0 h 418528"/>
                  <a:gd name="connsiteX1" fmla="*/ 0 w 453901"/>
                  <a:gd name="connsiteY1" fmla="*/ 0 h 418528"/>
                  <a:gd name="connsiteX2" fmla="*/ 0 w 453901"/>
                  <a:gd name="connsiteY2" fmla="*/ 418529 h 418528"/>
                  <a:gd name="connsiteX3" fmla="*/ 418433 w 453901"/>
                  <a:gd name="connsiteY3" fmla="*/ 418529 h 418528"/>
                  <a:gd name="connsiteX4" fmla="*/ 418433 w 453901"/>
                  <a:gd name="connsiteY4" fmla="*/ 0 h 418528"/>
                  <a:gd name="connsiteX5" fmla="*/ 418433 w 453901"/>
                  <a:gd name="connsiteY5" fmla="*/ 0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901" h="418528">
                    <a:moveTo>
                      <a:pt x="418433" y="0"/>
                    </a:moveTo>
                    <a:lnTo>
                      <a:pt x="0" y="0"/>
                    </a:lnTo>
                    <a:lnTo>
                      <a:pt x="0" y="418529"/>
                    </a:lnTo>
                    <a:lnTo>
                      <a:pt x="418433" y="418529"/>
                    </a:lnTo>
                    <a:cubicBezTo>
                      <a:pt x="465677" y="283750"/>
                      <a:pt x="465773" y="134874"/>
                      <a:pt x="418433" y="0"/>
                    </a:cubicBezTo>
                    <a:lnTo>
                      <a:pt x="418433" y="0"/>
                    </a:lnTo>
                    <a:close/>
                  </a:path>
                </a:pathLst>
              </a:custGeom>
              <a:solidFill>
                <a:srgbClr val="CAD2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E79D1FAC-BB7B-4E61-B1B1-9A43F3831DF3}"/>
                  </a:ext>
                </a:extLst>
              </p:cNvPr>
              <p:cNvSpPr/>
              <p:nvPr/>
            </p:nvSpPr>
            <p:spPr bwMode="gray">
              <a:xfrm>
                <a:off x="8322350" y="172641"/>
                <a:ext cx="464431" cy="418528"/>
              </a:xfrm>
              <a:custGeom>
                <a:avLst/>
                <a:gdLst>
                  <a:gd name="connsiteX0" fmla="*/ 418433 w 418433"/>
                  <a:gd name="connsiteY0" fmla="*/ 418529 h 418528"/>
                  <a:gd name="connsiteX1" fmla="*/ 0 w 418433"/>
                  <a:gd name="connsiteY1" fmla="*/ 418529 h 418528"/>
                  <a:gd name="connsiteX2" fmla="*/ 0 w 418433"/>
                  <a:gd name="connsiteY2" fmla="*/ 0 h 418528"/>
                  <a:gd name="connsiteX3" fmla="*/ 418433 w 418433"/>
                  <a:gd name="connsiteY3" fmla="*/ 0 h 418528"/>
                  <a:gd name="connsiteX4" fmla="*/ 418433 w 418433"/>
                  <a:gd name="connsiteY4" fmla="*/ 418529 h 418528"/>
                  <a:gd name="connsiteX5" fmla="*/ 418433 w 418433"/>
                  <a:gd name="connsiteY5" fmla="*/ 418529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8433" h="418528">
                    <a:moveTo>
                      <a:pt x="418433" y="418529"/>
                    </a:moveTo>
                    <a:lnTo>
                      <a:pt x="0" y="418529"/>
                    </a:lnTo>
                    <a:cubicBezTo>
                      <a:pt x="47244" y="283750"/>
                      <a:pt x="47339" y="134969"/>
                      <a:pt x="0" y="0"/>
                    </a:cubicBezTo>
                    <a:lnTo>
                      <a:pt x="418433" y="0"/>
                    </a:lnTo>
                    <a:lnTo>
                      <a:pt x="418433" y="418529"/>
                    </a:lnTo>
                    <a:lnTo>
                      <a:pt x="418433" y="4185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F7812828-BA5F-4A0B-B02C-07DB1B85B881}"/>
                  </a:ext>
                </a:extLst>
              </p:cNvPr>
              <p:cNvSpPr/>
              <p:nvPr/>
            </p:nvSpPr>
            <p:spPr bwMode="gray">
              <a:xfrm>
                <a:off x="8595431" y="242549"/>
                <a:ext cx="117896" cy="139641"/>
              </a:xfrm>
              <a:custGeom>
                <a:avLst/>
                <a:gdLst>
                  <a:gd name="connsiteX0" fmla="*/ 109919 w 117896"/>
                  <a:gd name="connsiteY0" fmla="*/ 6863 h 139641"/>
                  <a:gd name="connsiteX1" fmla="*/ 109156 w 117896"/>
                  <a:gd name="connsiteY1" fmla="*/ 5 h 139641"/>
                  <a:gd name="connsiteX2" fmla="*/ 90488 w 117896"/>
                  <a:gd name="connsiteY2" fmla="*/ 5 h 139641"/>
                  <a:gd name="connsiteX3" fmla="*/ 78677 w 117896"/>
                  <a:gd name="connsiteY3" fmla="*/ 5720 h 139641"/>
                  <a:gd name="connsiteX4" fmla="*/ 26479 w 117896"/>
                  <a:gd name="connsiteY4" fmla="*/ 62298 h 139641"/>
                  <a:gd name="connsiteX5" fmla="*/ 26384 w 117896"/>
                  <a:gd name="connsiteY5" fmla="*/ 6958 h 139641"/>
                  <a:gd name="connsiteX6" fmla="*/ 19526 w 117896"/>
                  <a:gd name="connsiteY6" fmla="*/ 100 h 139641"/>
                  <a:gd name="connsiteX7" fmla="*/ 6858 w 117896"/>
                  <a:gd name="connsiteY7" fmla="*/ 100 h 139641"/>
                  <a:gd name="connsiteX8" fmla="*/ 0 w 117896"/>
                  <a:gd name="connsiteY8" fmla="*/ 6958 h 139641"/>
                  <a:gd name="connsiteX9" fmla="*/ 0 w 117896"/>
                  <a:gd name="connsiteY9" fmla="*/ 132783 h 139641"/>
                  <a:gd name="connsiteX10" fmla="*/ 6858 w 117896"/>
                  <a:gd name="connsiteY10" fmla="*/ 139641 h 139641"/>
                  <a:gd name="connsiteX11" fmla="*/ 19622 w 117896"/>
                  <a:gd name="connsiteY11" fmla="*/ 139641 h 139641"/>
                  <a:gd name="connsiteX12" fmla="*/ 26479 w 117896"/>
                  <a:gd name="connsiteY12" fmla="*/ 132783 h 139641"/>
                  <a:gd name="connsiteX13" fmla="*/ 26479 w 117896"/>
                  <a:gd name="connsiteY13" fmla="*/ 99922 h 139641"/>
                  <a:gd name="connsiteX14" fmla="*/ 49625 w 117896"/>
                  <a:gd name="connsiteY14" fmla="*/ 74871 h 139641"/>
                  <a:gd name="connsiteX15" fmla="*/ 85439 w 117896"/>
                  <a:gd name="connsiteY15" fmla="*/ 132783 h 139641"/>
                  <a:gd name="connsiteX16" fmla="*/ 94869 w 117896"/>
                  <a:gd name="connsiteY16" fmla="*/ 139641 h 139641"/>
                  <a:gd name="connsiteX17" fmla="*/ 114014 w 117896"/>
                  <a:gd name="connsiteY17" fmla="*/ 139641 h 139641"/>
                  <a:gd name="connsiteX18" fmla="*/ 116681 w 117896"/>
                  <a:gd name="connsiteY18" fmla="*/ 132783 h 139641"/>
                  <a:gd name="connsiteX19" fmla="*/ 67247 w 117896"/>
                  <a:gd name="connsiteY19" fmla="*/ 55154 h 139641"/>
                  <a:gd name="connsiteX20" fmla="*/ 109919 w 117896"/>
                  <a:gd name="connsiteY20" fmla="*/ 6863 h 139641"/>
                  <a:gd name="connsiteX21" fmla="*/ 109919 w 117896"/>
                  <a:gd name="connsiteY21" fmla="*/ 6863 h 13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7896" h="139641">
                    <a:moveTo>
                      <a:pt x="109919" y="6863"/>
                    </a:moveTo>
                    <a:cubicBezTo>
                      <a:pt x="113348" y="3053"/>
                      <a:pt x="112967" y="5"/>
                      <a:pt x="109156" y="5"/>
                    </a:cubicBezTo>
                    <a:lnTo>
                      <a:pt x="90488" y="5"/>
                    </a:lnTo>
                    <a:cubicBezTo>
                      <a:pt x="86677" y="5"/>
                      <a:pt x="84773" y="-376"/>
                      <a:pt x="78677" y="5720"/>
                    </a:cubicBezTo>
                    <a:lnTo>
                      <a:pt x="26479" y="62298"/>
                    </a:lnTo>
                    <a:lnTo>
                      <a:pt x="26384" y="6958"/>
                    </a:lnTo>
                    <a:cubicBezTo>
                      <a:pt x="26384" y="3148"/>
                      <a:pt x="23336" y="100"/>
                      <a:pt x="19526" y="100"/>
                    </a:cubicBezTo>
                    <a:lnTo>
                      <a:pt x="6858" y="100"/>
                    </a:lnTo>
                    <a:cubicBezTo>
                      <a:pt x="3048" y="100"/>
                      <a:pt x="0" y="3148"/>
                      <a:pt x="0" y="6958"/>
                    </a:cubicBezTo>
                    <a:lnTo>
                      <a:pt x="0" y="132783"/>
                    </a:lnTo>
                    <a:cubicBezTo>
                      <a:pt x="0" y="136593"/>
                      <a:pt x="3048" y="139641"/>
                      <a:pt x="6858" y="139641"/>
                    </a:cubicBezTo>
                    <a:lnTo>
                      <a:pt x="19622" y="139641"/>
                    </a:lnTo>
                    <a:cubicBezTo>
                      <a:pt x="23431" y="139641"/>
                      <a:pt x="26479" y="136593"/>
                      <a:pt x="26479" y="132783"/>
                    </a:cubicBezTo>
                    <a:lnTo>
                      <a:pt x="26479" y="99922"/>
                    </a:lnTo>
                    <a:lnTo>
                      <a:pt x="49625" y="74871"/>
                    </a:lnTo>
                    <a:lnTo>
                      <a:pt x="85439" y="132783"/>
                    </a:lnTo>
                    <a:cubicBezTo>
                      <a:pt x="87725" y="136593"/>
                      <a:pt x="91059" y="139641"/>
                      <a:pt x="94869" y="139641"/>
                    </a:cubicBezTo>
                    <a:lnTo>
                      <a:pt x="114014" y="139641"/>
                    </a:lnTo>
                    <a:cubicBezTo>
                      <a:pt x="117824" y="139641"/>
                      <a:pt x="119063" y="136593"/>
                      <a:pt x="116681" y="132783"/>
                    </a:cubicBezTo>
                    <a:lnTo>
                      <a:pt x="67247" y="55154"/>
                    </a:lnTo>
                    <a:lnTo>
                      <a:pt x="109919" y="6863"/>
                    </a:lnTo>
                    <a:lnTo>
                      <a:pt x="109919" y="686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9CF53678-88A0-460D-814C-19F6B940AB8A}"/>
                  </a:ext>
                </a:extLst>
              </p:cNvPr>
              <p:cNvSpPr/>
              <p:nvPr/>
            </p:nvSpPr>
            <p:spPr bwMode="gray">
              <a:xfrm>
                <a:off x="8399217" y="242459"/>
                <a:ext cx="27717" cy="139541"/>
              </a:xfrm>
              <a:custGeom>
                <a:avLst/>
                <a:gdLst>
                  <a:gd name="connsiteX0" fmla="*/ 0 w 27717"/>
                  <a:gd name="connsiteY0" fmla="*/ 132683 h 139541"/>
                  <a:gd name="connsiteX1" fmla="*/ 6858 w 27717"/>
                  <a:gd name="connsiteY1" fmla="*/ 139541 h 139541"/>
                  <a:gd name="connsiteX2" fmla="*/ 20765 w 27717"/>
                  <a:gd name="connsiteY2" fmla="*/ 139541 h 139541"/>
                  <a:gd name="connsiteX3" fmla="*/ 27623 w 27717"/>
                  <a:gd name="connsiteY3" fmla="*/ 132683 h 139541"/>
                  <a:gd name="connsiteX4" fmla="*/ 27718 w 27717"/>
                  <a:gd name="connsiteY4" fmla="*/ 6858 h 139541"/>
                  <a:gd name="connsiteX5" fmla="*/ 20860 w 27717"/>
                  <a:gd name="connsiteY5" fmla="*/ 0 h 139541"/>
                  <a:gd name="connsiteX6" fmla="*/ 6953 w 27717"/>
                  <a:gd name="connsiteY6" fmla="*/ 0 h 139541"/>
                  <a:gd name="connsiteX7" fmla="*/ 95 w 27717"/>
                  <a:gd name="connsiteY7" fmla="*/ 6858 h 139541"/>
                  <a:gd name="connsiteX8" fmla="*/ 0 w 27717"/>
                  <a:gd name="connsiteY8" fmla="*/ 132683 h 139541"/>
                  <a:gd name="connsiteX9" fmla="*/ 0 w 27717"/>
                  <a:gd name="connsiteY9" fmla="*/ 132683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717" h="139541">
                    <a:moveTo>
                      <a:pt x="0" y="132683"/>
                    </a:moveTo>
                    <a:cubicBezTo>
                      <a:pt x="0" y="136493"/>
                      <a:pt x="3048" y="139541"/>
                      <a:pt x="6858" y="139541"/>
                    </a:cubicBezTo>
                    <a:lnTo>
                      <a:pt x="20765" y="139541"/>
                    </a:lnTo>
                    <a:cubicBezTo>
                      <a:pt x="24575" y="139541"/>
                      <a:pt x="27623" y="136493"/>
                      <a:pt x="27623" y="132683"/>
                    </a:cubicBezTo>
                    <a:lnTo>
                      <a:pt x="27718" y="6858"/>
                    </a:lnTo>
                    <a:cubicBezTo>
                      <a:pt x="27718" y="3048"/>
                      <a:pt x="24670" y="0"/>
                      <a:pt x="20860" y="0"/>
                    </a:cubicBezTo>
                    <a:lnTo>
                      <a:pt x="6953" y="0"/>
                    </a:lnTo>
                    <a:cubicBezTo>
                      <a:pt x="3143" y="0"/>
                      <a:pt x="95" y="3048"/>
                      <a:pt x="95" y="6858"/>
                    </a:cubicBezTo>
                    <a:lnTo>
                      <a:pt x="0" y="132683"/>
                    </a:lnTo>
                    <a:lnTo>
                      <a:pt x="0" y="13268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709262A2-258D-407F-A1E6-AB4B73731D1B}"/>
                  </a:ext>
                </a:extLst>
              </p:cNvPr>
              <p:cNvSpPr/>
              <p:nvPr/>
            </p:nvSpPr>
            <p:spPr bwMode="gray">
              <a:xfrm>
                <a:off x="8455889" y="242554"/>
                <a:ext cx="110490" cy="139541"/>
              </a:xfrm>
              <a:custGeom>
                <a:avLst/>
                <a:gdLst>
                  <a:gd name="connsiteX0" fmla="*/ 82963 w 110490"/>
                  <a:gd name="connsiteY0" fmla="*/ 6858 h 139541"/>
                  <a:gd name="connsiteX1" fmla="*/ 89821 w 110490"/>
                  <a:gd name="connsiteY1" fmla="*/ 0 h 139541"/>
                  <a:gd name="connsiteX2" fmla="*/ 103632 w 110490"/>
                  <a:gd name="connsiteY2" fmla="*/ 0 h 139541"/>
                  <a:gd name="connsiteX3" fmla="*/ 110490 w 110490"/>
                  <a:gd name="connsiteY3" fmla="*/ 6858 h 139541"/>
                  <a:gd name="connsiteX4" fmla="*/ 110490 w 110490"/>
                  <a:gd name="connsiteY4" fmla="*/ 132683 h 139541"/>
                  <a:gd name="connsiteX5" fmla="*/ 103632 w 110490"/>
                  <a:gd name="connsiteY5" fmla="*/ 139541 h 139541"/>
                  <a:gd name="connsiteX6" fmla="*/ 89916 w 110490"/>
                  <a:gd name="connsiteY6" fmla="*/ 139541 h 139541"/>
                  <a:gd name="connsiteX7" fmla="*/ 83058 w 110490"/>
                  <a:gd name="connsiteY7" fmla="*/ 132683 h 139541"/>
                  <a:gd name="connsiteX8" fmla="*/ 82963 w 110490"/>
                  <a:gd name="connsiteY8" fmla="*/ 80867 h 139541"/>
                  <a:gd name="connsiteX9" fmla="*/ 27527 w 110490"/>
                  <a:gd name="connsiteY9" fmla="*/ 80867 h 139541"/>
                  <a:gd name="connsiteX10" fmla="*/ 27527 w 110490"/>
                  <a:gd name="connsiteY10" fmla="*/ 132683 h 139541"/>
                  <a:gd name="connsiteX11" fmla="*/ 20669 w 110490"/>
                  <a:gd name="connsiteY11" fmla="*/ 139541 h 139541"/>
                  <a:gd name="connsiteX12" fmla="*/ 6858 w 110490"/>
                  <a:gd name="connsiteY12" fmla="*/ 139541 h 139541"/>
                  <a:gd name="connsiteX13" fmla="*/ 0 w 110490"/>
                  <a:gd name="connsiteY13" fmla="*/ 132683 h 139541"/>
                  <a:gd name="connsiteX14" fmla="*/ 0 w 110490"/>
                  <a:gd name="connsiteY14" fmla="*/ 6858 h 139541"/>
                  <a:gd name="connsiteX15" fmla="*/ 6858 w 110490"/>
                  <a:gd name="connsiteY15" fmla="*/ 0 h 139541"/>
                  <a:gd name="connsiteX16" fmla="*/ 20669 w 110490"/>
                  <a:gd name="connsiteY16" fmla="*/ 0 h 139541"/>
                  <a:gd name="connsiteX17" fmla="*/ 27527 w 110490"/>
                  <a:gd name="connsiteY17" fmla="*/ 6858 h 139541"/>
                  <a:gd name="connsiteX18" fmla="*/ 27432 w 110490"/>
                  <a:gd name="connsiteY18" fmla="*/ 57436 h 139541"/>
                  <a:gd name="connsiteX19" fmla="*/ 82868 w 110490"/>
                  <a:gd name="connsiteY19" fmla="*/ 57436 h 139541"/>
                  <a:gd name="connsiteX20" fmla="*/ 82963 w 110490"/>
                  <a:gd name="connsiteY20" fmla="*/ 6858 h 139541"/>
                  <a:gd name="connsiteX21" fmla="*/ 82963 w 110490"/>
                  <a:gd name="connsiteY21" fmla="*/ 6858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490" h="139541">
                    <a:moveTo>
                      <a:pt x="82963" y="6858"/>
                    </a:moveTo>
                    <a:cubicBezTo>
                      <a:pt x="82963" y="3048"/>
                      <a:pt x="86011" y="0"/>
                      <a:pt x="89821" y="0"/>
                    </a:cubicBezTo>
                    <a:lnTo>
                      <a:pt x="103632" y="0"/>
                    </a:lnTo>
                    <a:cubicBezTo>
                      <a:pt x="107442" y="0"/>
                      <a:pt x="110490" y="3048"/>
                      <a:pt x="110490" y="6858"/>
                    </a:cubicBezTo>
                    <a:lnTo>
                      <a:pt x="110490" y="132683"/>
                    </a:lnTo>
                    <a:cubicBezTo>
                      <a:pt x="110490" y="136493"/>
                      <a:pt x="107442" y="139541"/>
                      <a:pt x="103632" y="139541"/>
                    </a:cubicBezTo>
                    <a:lnTo>
                      <a:pt x="89916" y="139541"/>
                    </a:lnTo>
                    <a:cubicBezTo>
                      <a:pt x="86106" y="139541"/>
                      <a:pt x="83058" y="136493"/>
                      <a:pt x="83058" y="132683"/>
                    </a:cubicBezTo>
                    <a:lnTo>
                      <a:pt x="82963" y="80867"/>
                    </a:lnTo>
                    <a:lnTo>
                      <a:pt x="27527" y="80867"/>
                    </a:lnTo>
                    <a:lnTo>
                      <a:pt x="27527" y="132683"/>
                    </a:lnTo>
                    <a:cubicBezTo>
                      <a:pt x="27527" y="136493"/>
                      <a:pt x="24479" y="139541"/>
                      <a:pt x="20669" y="139541"/>
                    </a:cubicBezTo>
                    <a:lnTo>
                      <a:pt x="6858" y="139541"/>
                    </a:lnTo>
                    <a:cubicBezTo>
                      <a:pt x="3048" y="139541"/>
                      <a:pt x="0" y="136493"/>
                      <a:pt x="0" y="132683"/>
                    </a:cubicBezTo>
                    <a:lnTo>
                      <a:pt x="0" y="6858"/>
                    </a:lnTo>
                    <a:cubicBezTo>
                      <a:pt x="0" y="3048"/>
                      <a:pt x="3048" y="0"/>
                      <a:pt x="6858" y="0"/>
                    </a:cubicBezTo>
                    <a:lnTo>
                      <a:pt x="20669" y="0"/>
                    </a:lnTo>
                    <a:cubicBezTo>
                      <a:pt x="24479" y="0"/>
                      <a:pt x="27527" y="3048"/>
                      <a:pt x="27527" y="6858"/>
                    </a:cubicBezTo>
                    <a:lnTo>
                      <a:pt x="27432" y="57436"/>
                    </a:lnTo>
                    <a:lnTo>
                      <a:pt x="82868" y="57436"/>
                    </a:lnTo>
                    <a:lnTo>
                      <a:pt x="82963" y="6858"/>
                    </a:lnTo>
                    <a:lnTo>
                      <a:pt x="82963" y="685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  <p:sp>
          <p:nvSpPr>
            <p:cNvPr id="51" name="Gleichschenkliges Dreieck 50">
              <a:extLst>
                <a:ext uri="{FF2B5EF4-FFF2-40B4-BE49-F238E27FC236}">
                  <a16:creationId xmlns:a16="http://schemas.microsoft.com/office/drawing/2014/main" id="{79940E31-A04C-4960-AC85-95448B81DC3C}"/>
                </a:ext>
              </a:extLst>
            </p:cNvPr>
            <p:cNvSpPr/>
            <p:nvPr/>
          </p:nvSpPr>
          <p:spPr>
            <a:xfrm rot="7860000">
              <a:off x="1856408" y="3738519"/>
              <a:ext cx="178430" cy="159486"/>
            </a:xfrm>
            <a:prstGeom prst="triangle">
              <a:avLst>
                <a:gd name="adj" fmla="val 5214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EB9385B0-927E-4643-B86F-9C69FF8DAC28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738913" y="3946194"/>
              <a:ext cx="195262" cy="199110"/>
            </a:xfrm>
            <a:prstGeom prst="line">
              <a:avLst/>
            </a:prstGeom>
            <a:ln w="19050" cap="sq">
              <a:solidFill>
                <a:srgbClr val="BDC5D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DFE970D4-14EF-4430-8838-2143E4B962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24026" y="3706926"/>
              <a:ext cx="216000" cy="226800"/>
            </a:xfrm>
            <a:prstGeom prst="line">
              <a:avLst/>
            </a:prstGeom>
            <a:ln w="19050" cap="sq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Gleichschenkliges Dreieck 53">
              <a:extLst>
                <a:ext uri="{FF2B5EF4-FFF2-40B4-BE49-F238E27FC236}">
                  <a16:creationId xmlns:a16="http://schemas.microsoft.com/office/drawing/2014/main" id="{A80B6A5D-9FE9-4B6F-8C42-6FEA19BE5374}"/>
                </a:ext>
              </a:extLst>
            </p:cNvPr>
            <p:cNvSpPr/>
            <p:nvPr/>
          </p:nvSpPr>
          <p:spPr>
            <a:xfrm rot="2760000">
              <a:off x="1869700" y="3951490"/>
              <a:ext cx="160587" cy="177207"/>
            </a:xfrm>
            <a:prstGeom prst="triangle">
              <a:avLst>
                <a:gd name="adj" fmla="val 52148"/>
              </a:avLst>
            </a:prstGeom>
            <a:solidFill>
              <a:srgbClr val="BDC5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31064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schirm/Bea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790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2ECD246-8717-4DD6-8D29-C4FE616DD6CF}"/>
              </a:ext>
            </a:extLst>
          </p:cNvPr>
          <p:cNvSpPr/>
          <p:nvPr userDrawn="1"/>
        </p:nvSpPr>
        <p:spPr bwMode="gray">
          <a:xfrm>
            <a:off x="0" y="0"/>
            <a:ext cx="9144000" cy="514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37272" y="3387412"/>
            <a:ext cx="7004666" cy="861774"/>
          </a:xfrm>
          <a:noFill/>
        </p:spPr>
        <p:txBody>
          <a:bodyPr lIns="0" rIns="0" anchor="b" anchorCtr="0">
            <a:noAutofit/>
          </a:bodyPr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Dies ist eine Kapitelüberschrift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37271" y="4306850"/>
            <a:ext cx="7004666" cy="215444"/>
          </a:xfrm>
          <a:prstGeom prst="rect">
            <a:avLst/>
          </a:prstGeom>
          <a:noFill/>
          <a:ln>
            <a:noFill/>
          </a:ln>
        </p:spPr>
        <p:txBody>
          <a:bodyPr lIns="0" r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3DDF9A30-E837-489A-ACB1-332682E4DA33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9FED959C-055C-420D-ACBE-FCCE4A84A4F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0B4221-9FFF-4574-A7E8-CC7BB4E774E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325246AA-7726-4DE4-8598-CB3725064E85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ED5BE621-8B81-461D-B4D3-E1F0DC9338DA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83FE5D1-C251-4202-B195-06D5B1B6DDA4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DDB1C19-2C6C-46A1-ACD5-C3442575C71E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423FBFE3-B724-4E4A-AEB5-539498F7270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2DD7028-0F99-4B5C-8C93-46DD532EF495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AE6EC5DD-C87E-4D48-AAE8-47A7FF42AF07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27DBEF06-EC80-4E61-8AD5-BA4CA8261A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EE613173-278A-4F52-9E33-05111F2C5A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E35E6ED-9AE0-41F4-9031-ACE8E89B4D7D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E4423644-616F-4A8C-A817-E504F8D677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06511C4B-CFA1-4CEF-8485-5A374F0F93A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111374F1-6662-462B-A736-8DFDE12E1FF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773473" y="206488"/>
            <a:ext cx="916268" cy="457919"/>
            <a:chOff x="1516529" y="3634540"/>
            <a:chExt cx="1240583" cy="558000"/>
          </a:xfrm>
        </p:grpSpPr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FC724A4A-5952-427B-8209-F382408416E0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516529" y="3634540"/>
              <a:ext cx="1240583" cy="558000"/>
              <a:chOff x="7856281" y="172641"/>
              <a:chExt cx="930500" cy="418528"/>
            </a:xfrm>
          </p:grpSpPr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EDC0094B-5C98-42F1-87A3-EAD6E34084BB}"/>
                  </a:ext>
                </a:extLst>
              </p:cNvPr>
              <p:cNvSpPr/>
              <p:nvPr/>
            </p:nvSpPr>
            <p:spPr bwMode="gray">
              <a:xfrm>
                <a:off x="7856281" y="172641"/>
                <a:ext cx="513034" cy="418528"/>
              </a:xfrm>
              <a:custGeom>
                <a:avLst/>
                <a:gdLst>
                  <a:gd name="connsiteX0" fmla="*/ 418433 w 453901"/>
                  <a:gd name="connsiteY0" fmla="*/ 0 h 418528"/>
                  <a:gd name="connsiteX1" fmla="*/ 0 w 453901"/>
                  <a:gd name="connsiteY1" fmla="*/ 0 h 418528"/>
                  <a:gd name="connsiteX2" fmla="*/ 0 w 453901"/>
                  <a:gd name="connsiteY2" fmla="*/ 418529 h 418528"/>
                  <a:gd name="connsiteX3" fmla="*/ 418433 w 453901"/>
                  <a:gd name="connsiteY3" fmla="*/ 418529 h 418528"/>
                  <a:gd name="connsiteX4" fmla="*/ 418433 w 453901"/>
                  <a:gd name="connsiteY4" fmla="*/ 0 h 418528"/>
                  <a:gd name="connsiteX5" fmla="*/ 418433 w 453901"/>
                  <a:gd name="connsiteY5" fmla="*/ 0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901" h="418528">
                    <a:moveTo>
                      <a:pt x="418433" y="0"/>
                    </a:moveTo>
                    <a:lnTo>
                      <a:pt x="0" y="0"/>
                    </a:lnTo>
                    <a:lnTo>
                      <a:pt x="0" y="418529"/>
                    </a:lnTo>
                    <a:lnTo>
                      <a:pt x="418433" y="418529"/>
                    </a:lnTo>
                    <a:cubicBezTo>
                      <a:pt x="465677" y="283750"/>
                      <a:pt x="465773" y="134874"/>
                      <a:pt x="418433" y="0"/>
                    </a:cubicBezTo>
                    <a:lnTo>
                      <a:pt x="418433" y="0"/>
                    </a:lnTo>
                    <a:close/>
                  </a:path>
                </a:pathLst>
              </a:custGeom>
              <a:solidFill>
                <a:srgbClr val="CAD2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18CEC510-8B35-49C7-810E-C31BDCE08EDD}"/>
                  </a:ext>
                </a:extLst>
              </p:cNvPr>
              <p:cNvSpPr/>
              <p:nvPr/>
            </p:nvSpPr>
            <p:spPr bwMode="gray">
              <a:xfrm>
                <a:off x="8322350" y="172641"/>
                <a:ext cx="464431" cy="418528"/>
              </a:xfrm>
              <a:custGeom>
                <a:avLst/>
                <a:gdLst>
                  <a:gd name="connsiteX0" fmla="*/ 418433 w 418433"/>
                  <a:gd name="connsiteY0" fmla="*/ 418529 h 418528"/>
                  <a:gd name="connsiteX1" fmla="*/ 0 w 418433"/>
                  <a:gd name="connsiteY1" fmla="*/ 418529 h 418528"/>
                  <a:gd name="connsiteX2" fmla="*/ 0 w 418433"/>
                  <a:gd name="connsiteY2" fmla="*/ 0 h 418528"/>
                  <a:gd name="connsiteX3" fmla="*/ 418433 w 418433"/>
                  <a:gd name="connsiteY3" fmla="*/ 0 h 418528"/>
                  <a:gd name="connsiteX4" fmla="*/ 418433 w 418433"/>
                  <a:gd name="connsiteY4" fmla="*/ 418529 h 418528"/>
                  <a:gd name="connsiteX5" fmla="*/ 418433 w 418433"/>
                  <a:gd name="connsiteY5" fmla="*/ 418529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8433" h="418528">
                    <a:moveTo>
                      <a:pt x="418433" y="418529"/>
                    </a:moveTo>
                    <a:lnTo>
                      <a:pt x="0" y="418529"/>
                    </a:lnTo>
                    <a:cubicBezTo>
                      <a:pt x="47244" y="283750"/>
                      <a:pt x="47339" y="134969"/>
                      <a:pt x="0" y="0"/>
                    </a:cubicBezTo>
                    <a:lnTo>
                      <a:pt x="418433" y="0"/>
                    </a:lnTo>
                    <a:lnTo>
                      <a:pt x="418433" y="418529"/>
                    </a:lnTo>
                    <a:lnTo>
                      <a:pt x="418433" y="4185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396FAEFD-2D3D-48F0-9640-6826B27DC225}"/>
                  </a:ext>
                </a:extLst>
              </p:cNvPr>
              <p:cNvSpPr/>
              <p:nvPr/>
            </p:nvSpPr>
            <p:spPr bwMode="gray">
              <a:xfrm>
                <a:off x="8595431" y="242549"/>
                <a:ext cx="117896" cy="139641"/>
              </a:xfrm>
              <a:custGeom>
                <a:avLst/>
                <a:gdLst>
                  <a:gd name="connsiteX0" fmla="*/ 109919 w 117896"/>
                  <a:gd name="connsiteY0" fmla="*/ 6863 h 139641"/>
                  <a:gd name="connsiteX1" fmla="*/ 109156 w 117896"/>
                  <a:gd name="connsiteY1" fmla="*/ 5 h 139641"/>
                  <a:gd name="connsiteX2" fmla="*/ 90488 w 117896"/>
                  <a:gd name="connsiteY2" fmla="*/ 5 h 139641"/>
                  <a:gd name="connsiteX3" fmla="*/ 78677 w 117896"/>
                  <a:gd name="connsiteY3" fmla="*/ 5720 h 139641"/>
                  <a:gd name="connsiteX4" fmla="*/ 26479 w 117896"/>
                  <a:gd name="connsiteY4" fmla="*/ 62298 h 139641"/>
                  <a:gd name="connsiteX5" fmla="*/ 26384 w 117896"/>
                  <a:gd name="connsiteY5" fmla="*/ 6958 h 139641"/>
                  <a:gd name="connsiteX6" fmla="*/ 19526 w 117896"/>
                  <a:gd name="connsiteY6" fmla="*/ 100 h 139641"/>
                  <a:gd name="connsiteX7" fmla="*/ 6858 w 117896"/>
                  <a:gd name="connsiteY7" fmla="*/ 100 h 139641"/>
                  <a:gd name="connsiteX8" fmla="*/ 0 w 117896"/>
                  <a:gd name="connsiteY8" fmla="*/ 6958 h 139641"/>
                  <a:gd name="connsiteX9" fmla="*/ 0 w 117896"/>
                  <a:gd name="connsiteY9" fmla="*/ 132783 h 139641"/>
                  <a:gd name="connsiteX10" fmla="*/ 6858 w 117896"/>
                  <a:gd name="connsiteY10" fmla="*/ 139641 h 139641"/>
                  <a:gd name="connsiteX11" fmla="*/ 19622 w 117896"/>
                  <a:gd name="connsiteY11" fmla="*/ 139641 h 139641"/>
                  <a:gd name="connsiteX12" fmla="*/ 26479 w 117896"/>
                  <a:gd name="connsiteY12" fmla="*/ 132783 h 139641"/>
                  <a:gd name="connsiteX13" fmla="*/ 26479 w 117896"/>
                  <a:gd name="connsiteY13" fmla="*/ 99922 h 139641"/>
                  <a:gd name="connsiteX14" fmla="*/ 49625 w 117896"/>
                  <a:gd name="connsiteY14" fmla="*/ 74871 h 139641"/>
                  <a:gd name="connsiteX15" fmla="*/ 85439 w 117896"/>
                  <a:gd name="connsiteY15" fmla="*/ 132783 h 139641"/>
                  <a:gd name="connsiteX16" fmla="*/ 94869 w 117896"/>
                  <a:gd name="connsiteY16" fmla="*/ 139641 h 139641"/>
                  <a:gd name="connsiteX17" fmla="*/ 114014 w 117896"/>
                  <a:gd name="connsiteY17" fmla="*/ 139641 h 139641"/>
                  <a:gd name="connsiteX18" fmla="*/ 116681 w 117896"/>
                  <a:gd name="connsiteY18" fmla="*/ 132783 h 139641"/>
                  <a:gd name="connsiteX19" fmla="*/ 67247 w 117896"/>
                  <a:gd name="connsiteY19" fmla="*/ 55154 h 139641"/>
                  <a:gd name="connsiteX20" fmla="*/ 109919 w 117896"/>
                  <a:gd name="connsiteY20" fmla="*/ 6863 h 139641"/>
                  <a:gd name="connsiteX21" fmla="*/ 109919 w 117896"/>
                  <a:gd name="connsiteY21" fmla="*/ 6863 h 13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7896" h="139641">
                    <a:moveTo>
                      <a:pt x="109919" y="6863"/>
                    </a:moveTo>
                    <a:cubicBezTo>
                      <a:pt x="113348" y="3053"/>
                      <a:pt x="112967" y="5"/>
                      <a:pt x="109156" y="5"/>
                    </a:cubicBezTo>
                    <a:lnTo>
                      <a:pt x="90488" y="5"/>
                    </a:lnTo>
                    <a:cubicBezTo>
                      <a:pt x="86677" y="5"/>
                      <a:pt x="84773" y="-376"/>
                      <a:pt x="78677" y="5720"/>
                    </a:cubicBezTo>
                    <a:lnTo>
                      <a:pt x="26479" y="62298"/>
                    </a:lnTo>
                    <a:lnTo>
                      <a:pt x="26384" y="6958"/>
                    </a:lnTo>
                    <a:cubicBezTo>
                      <a:pt x="26384" y="3148"/>
                      <a:pt x="23336" y="100"/>
                      <a:pt x="19526" y="100"/>
                    </a:cubicBezTo>
                    <a:lnTo>
                      <a:pt x="6858" y="100"/>
                    </a:lnTo>
                    <a:cubicBezTo>
                      <a:pt x="3048" y="100"/>
                      <a:pt x="0" y="3148"/>
                      <a:pt x="0" y="6958"/>
                    </a:cubicBezTo>
                    <a:lnTo>
                      <a:pt x="0" y="132783"/>
                    </a:lnTo>
                    <a:cubicBezTo>
                      <a:pt x="0" y="136593"/>
                      <a:pt x="3048" y="139641"/>
                      <a:pt x="6858" y="139641"/>
                    </a:cubicBezTo>
                    <a:lnTo>
                      <a:pt x="19622" y="139641"/>
                    </a:lnTo>
                    <a:cubicBezTo>
                      <a:pt x="23431" y="139641"/>
                      <a:pt x="26479" y="136593"/>
                      <a:pt x="26479" y="132783"/>
                    </a:cubicBezTo>
                    <a:lnTo>
                      <a:pt x="26479" y="99922"/>
                    </a:lnTo>
                    <a:lnTo>
                      <a:pt x="49625" y="74871"/>
                    </a:lnTo>
                    <a:lnTo>
                      <a:pt x="85439" y="132783"/>
                    </a:lnTo>
                    <a:cubicBezTo>
                      <a:pt x="87725" y="136593"/>
                      <a:pt x="91059" y="139641"/>
                      <a:pt x="94869" y="139641"/>
                    </a:cubicBezTo>
                    <a:lnTo>
                      <a:pt x="114014" y="139641"/>
                    </a:lnTo>
                    <a:cubicBezTo>
                      <a:pt x="117824" y="139641"/>
                      <a:pt x="119063" y="136593"/>
                      <a:pt x="116681" y="132783"/>
                    </a:cubicBezTo>
                    <a:lnTo>
                      <a:pt x="67247" y="55154"/>
                    </a:lnTo>
                    <a:lnTo>
                      <a:pt x="109919" y="6863"/>
                    </a:lnTo>
                    <a:lnTo>
                      <a:pt x="109919" y="686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B5FAB1BA-BFF8-4C28-9767-BAC9BC7D5877}"/>
                  </a:ext>
                </a:extLst>
              </p:cNvPr>
              <p:cNvSpPr/>
              <p:nvPr/>
            </p:nvSpPr>
            <p:spPr bwMode="gray">
              <a:xfrm>
                <a:off x="8399217" y="242459"/>
                <a:ext cx="27717" cy="139541"/>
              </a:xfrm>
              <a:custGeom>
                <a:avLst/>
                <a:gdLst>
                  <a:gd name="connsiteX0" fmla="*/ 0 w 27717"/>
                  <a:gd name="connsiteY0" fmla="*/ 132683 h 139541"/>
                  <a:gd name="connsiteX1" fmla="*/ 6858 w 27717"/>
                  <a:gd name="connsiteY1" fmla="*/ 139541 h 139541"/>
                  <a:gd name="connsiteX2" fmla="*/ 20765 w 27717"/>
                  <a:gd name="connsiteY2" fmla="*/ 139541 h 139541"/>
                  <a:gd name="connsiteX3" fmla="*/ 27623 w 27717"/>
                  <a:gd name="connsiteY3" fmla="*/ 132683 h 139541"/>
                  <a:gd name="connsiteX4" fmla="*/ 27718 w 27717"/>
                  <a:gd name="connsiteY4" fmla="*/ 6858 h 139541"/>
                  <a:gd name="connsiteX5" fmla="*/ 20860 w 27717"/>
                  <a:gd name="connsiteY5" fmla="*/ 0 h 139541"/>
                  <a:gd name="connsiteX6" fmla="*/ 6953 w 27717"/>
                  <a:gd name="connsiteY6" fmla="*/ 0 h 139541"/>
                  <a:gd name="connsiteX7" fmla="*/ 95 w 27717"/>
                  <a:gd name="connsiteY7" fmla="*/ 6858 h 139541"/>
                  <a:gd name="connsiteX8" fmla="*/ 0 w 27717"/>
                  <a:gd name="connsiteY8" fmla="*/ 132683 h 139541"/>
                  <a:gd name="connsiteX9" fmla="*/ 0 w 27717"/>
                  <a:gd name="connsiteY9" fmla="*/ 132683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717" h="139541">
                    <a:moveTo>
                      <a:pt x="0" y="132683"/>
                    </a:moveTo>
                    <a:cubicBezTo>
                      <a:pt x="0" y="136493"/>
                      <a:pt x="3048" y="139541"/>
                      <a:pt x="6858" y="139541"/>
                    </a:cubicBezTo>
                    <a:lnTo>
                      <a:pt x="20765" y="139541"/>
                    </a:lnTo>
                    <a:cubicBezTo>
                      <a:pt x="24575" y="139541"/>
                      <a:pt x="27623" y="136493"/>
                      <a:pt x="27623" y="132683"/>
                    </a:cubicBezTo>
                    <a:lnTo>
                      <a:pt x="27718" y="6858"/>
                    </a:lnTo>
                    <a:cubicBezTo>
                      <a:pt x="27718" y="3048"/>
                      <a:pt x="24670" y="0"/>
                      <a:pt x="20860" y="0"/>
                    </a:cubicBezTo>
                    <a:lnTo>
                      <a:pt x="6953" y="0"/>
                    </a:lnTo>
                    <a:cubicBezTo>
                      <a:pt x="3143" y="0"/>
                      <a:pt x="95" y="3048"/>
                      <a:pt x="95" y="6858"/>
                    </a:cubicBezTo>
                    <a:lnTo>
                      <a:pt x="0" y="132683"/>
                    </a:lnTo>
                    <a:lnTo>
                      <a:pt x="0" y="13268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CFC91F83-F918-4AE1-BDCD-94A2B86FFEA1}"/>
                  </a:ext>
                </a:extLst>
              </p:cNvPr>
              <p:cNvSpPr/>
              <p:nvPr/>
            </p:nvSpPr>
            <p:spPr bwMode="gray">
              <a:xfrm>
                <a:off x="8455889" y="242554"/>
                <a:ext cx="110490" cy="139541"/>
              </a:xfrm>
              <a:custGeom>
                <a:avLst/>
                <a:gdLst>
                  <a:gd name="connsiteX0" fmla="*/ 82963 w 110490"/>
                  <a:gd name="connsiteY0" fmla="*/ 6858 h 139541"/>
                  <a:gd name="connsiteX1" fmla="*/ 89821 w 110490"/>
                  <a:gd name="connsiteY1" fmla="*/ 0 h 139541"/>
                  <a:gd name="connsiteX2" fmla="*/ 103632 w 110490"/>
                  <a:gd name="connsiteY2" fmla="*/ 0 h 139541"/>
                  <a:gd name="connsiteX3" fmla="*/ 110490 w 110490"/>
                  <a:gd name="connsiteY3" fmla="*/ 6858 h 139541"/>
                  <a:gd name="connsiteX4" fmla="*/ 110490 w 110490"/>
                  <a:gd name="connsiteY4" fmla="*/ 132683 h 139541"/>
                  <a:gd name="connsiteX5" fmla="*/ 103632 w 110490"/>
                  <a:gd name="connsiteY5" fmla="*/ 139541 h 139541"/>
                  <a:gd name="connsiteX6" fmla="*/ 89916 w 110490"/>
                  <a:gd name="connsiteY6" fmla="*/ 139541 h 139541"/>
                  <a:gd name="connsiteX7" fmla="*/ 83058 w 110490"/>
                  <a:gd name="connsiteY7" fmla="*/ 132683 h 139541"/>
                  <a:gd name="connsiteX8" fmla="*/ 82963 w 110490"/>
                  <a:gd name="connsiteY8" fmla="*/ 80867 h 139541"/>
                  <a:gd name="connsiteX9" fmla="*/ 27527 w 110490"/>
                  <a:gd name="connsiteY9" fmla="*/ 80867 h 139541"/>
                  <a:gd name="connsiteX10" fmla="*/ 27527 w 110490"/>
                  <a:gd name="connsiteY10" fmla="*/ 132683 h 139541"/>
                  <a:gd name="connsiteX11" fmla="*/ 20669 w 110490"/>
                  <a:gd name="connsiteY11" fmla="*/ 139541 h 139541"/>
                  <a:gd name="connsiteX12" fmla="*/ 6858 w 110490"/>
                  <a:gd name="connsiteY12" fmla="*/ 139541 h 139541"/>
                  <a:gd name="connsiteX13" fmla="*/ 0 w 110490"/>
                  <a:gd name="connsiteY13" fmla="*/ 132683 h 139541"/>
                  <a:gd name="connsiteX14" fmla="*/ 0 w 110490"/>
                  <a:gd name="connsiteY14" fmla="*/ 6858 h 139541"/>
                  <a:gd name="connsiteX15" fmla="*/ 6858 w 110490"/>
                  <a:gd name="connsiteY15" fmla="*/ 0 h 139541"/>
                  <a:gd name="connsiteX16" fmla="*/ 20669 w 110490"/>
                  <a:gd name="connsiteY16" fmla="*/ 0 h 139541"/>
                  <a:gd name="connsiteX17" fmla="*/ 27527 w 110490"/>
                  <a:gd name="connsiteY17" fmla="*/ 6858 h 139541"/>
                  <a:gd name="connsiteX18" fmla="*/ 27432 w 110490"/>
                  <a:gd name="connsiteY18" fmla="*/ 57436 h 139541"/>
                  <a:gd name="connsiteX19" fmla="*/ 82868 w 110490"/>
                  <a:gd name="connsiteY19" fmla="*/ 57436 h 139541"/>
                  <a:gd name="connsiteX20" fmla="*/ 82963 w 110490"/>
                  <a:gd name="connsiteY20" fmla="*/ 6858 h 139541"/>
                  <a:gd name="connsiteX21" fmla="*/ 82963 w 110490"/>
                  <a:gd name="connsiteY21" fmla="*/ 6858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490" h="139541">
                    <a:moveTo>
                      <a:pt x="82963" y="6858"/>
                    </a:moveTo>
                    <a:cubicBezTo>
                      <a:pt x="82963" y="3048"/>
                      <a:pt x="86011" y="0"/>
                      <a:pt x="89821" y="0"/>
                    </a:cubicBezTo>
                    <a:lnTo>
                      <a:pt x="103632" y="0"/>
                    </a:lnTo>
                    <a:cubicBezTo>
                      <a:pt x="107442" y="0"/>
                      <a:pt x="110490" y="3048"/>
                      <a:pt x="110490" y="6858"/>
                    </a:cubicBezTo>
                    <a:lnTo>
                      <a:pt x="110490" y="132683"/>
                    </a:lnTo>
                    <a:cubicBezTo>
                      <a:pt x="110490" y="136493"/>
                      <a:pt x="107442" y="139541"/>
                      <a:pt x="103632" y="139541"/>
                    </a:cubicBezTo>
                    <a:lnTo>
                      <a:pt x="89916" y="139541"/>
                    </a:lnTo>
                    <a:cubicBezTo>
                      <a:pt x="86106" y="139541"/>
                      <a:pt x="83058" y="136493"/>
                      <a:pt x="83058" y="132683"/>
                    </a:cubicBezTo>
                    <a:lnTo>
                      <a:pt x="82963" y="80867"/>
                    </a:lnTo>
                    <a:lnTo>
                      <a:pt x="27527" y="80867"/>
                    </a:lnTo>
                    <a:lnTo>
                      <a:pt x="27527" y="132683"/>
                    </a:lnTo>
                    <a:cubicBezTo>
                      <a:pt x="27527" y="136493"/>
                      <a:pt x="24479" y="139541"/>
                      <a:pt x="20669" y="139541"/>
                    </a:cubicBezTo>
                    <a:lnTo>
                      <a:pt x="6858" y="139541"/>
                    </a:lnTo>
                    <a:cubicBezTo>
                      <a:pt x="3048" y="139541"/>
                      <a:pt x="0" y="136493"/>
                      <a:pt x="0" y="132683"/>
                    </a:cubicBezTo>
                    <a:lnTo>
                      <a:pt x="0" y="6858"/>
                    </a:lnTo>
                    <a:cubicBezTo>
                      <a:pt x="0" y="3048"/>
                      <a:pt x="3048" y="0"/>
                      <a:pt x="6858" y="0"/>
                    </a:cubicBezTo>
                    <a:lnTo>
                      <a:pt x="20669" y="0"/>
                    </a:lnTo>
                    <a:cubicBezTo>
                      <a:pt x="24479" y="0"/>
                      <a:pt x="27527" y="3048"/>
                      <a:pt x="27527" y="6858"/>
                    </a:cubicBezTo>
                    <a:lnTo>
                      <a:pt x="27432" y="57436"/>
                    </a:lnTo>
                    <a:lnTo>
                      <a:pt x="82868" y="57436"/>
                    </a:lnTo>
                    <a:lnTo>
                      <a:pt x="82963" y="6858"/>
                    </a:lnTo>
                    <a:lnTo>
                      <a:pt x="82963" y="685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  <p:sp>
          <p:nvSpPr>
            <p:cNvPr id="51" name="Gleichschenkliges Dreieck 50">
              <a:extLst>
                <a:ext uri="{FF2B5EF4-FFF2-40B4-BE49-F238E27FC236}">
                  <a16:creationId xmlns:a16="http://schemas.microsoft.com/office/drawing/2014/main" id="{9F6C0AF0-B20E-4DCA-A045-C21CFE548544}"/>
                </a:ext>
              </a:extLst>
            </p:cNvPr>
            <p:cNvSpPr/>
            <p:nvPr/>
          </p:nvSpPr>
          <p:spPr>
            <a:xfrm rot="7860000">
              <a:off x="1856408" y="3738519"/>
              <a:ext cx="178430" cy="159486"/>
            </a:xfrm>
            <a:prstGeom prst="triangle">
              <a:avLst>
                <a:gd name="adj" fmla="val 5214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A2EA958E-3EB6-4997-B146-24E289B3CF48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738913" y="3946194"/>
              <a:ext cx="195262" cy="199110"/>
            </a:xfrm>
            <a:prstGeom prst="line">
              <a:avLst/>
            </a:prstGeom>
            <a:ln w="19050" cap="sq">
              <a:solidFill>
                <a:srgbClr val="BDC5D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E29DA734-5751-43FC-83CE-8CCE7C857E4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24026" y="3706926"/>
              <a:ext cx="216000" cy="226800"/>
            </a:xfrm>
            <a:prstGeom prst="line">
              <a:avLst/>
            </a:prstGeom>
            <a:ln w="19050" cap="sq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Gleichschenkliges Dreieck 53">
              <a:extLst>
                <a:ext uri="{FF2B5EF4-FFF2-40B4-BE49-F238E27FC236}">
                  <a16:creationId xmlns:a16="http://schemas.microsoft.com/office/drawing/2014/main" id="{BBA8A999-57DF-4189-8F3B-1138EDF7B298}"/>
                </a:ext>
              </a:extLst>
            </p:cNvPr>
            <p:cNvSpPr/>
            <p:nvPr/>
          </p:nvSpPr>
          <p:spPr>
            <a:xfrm rot="2760000">
              <a:off x="1869700" y="3951490"/>
              <a:ext cx="160587" cy="177207"/>
            </a:xfrm>
            <a:prstGeom prst="triangle">
              <a:avLst>
                <a:gd name="adj" fmla="val 52148"/>
              </a:avLst>
            </a:prstGeom>
            <a:solidFill>
              <a:srgbClr val="BDC5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23326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4837D4F-8CCD-4085-A4E6-671D092B29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62" y="1239837"/>
            <a:ext cx="8243887" cy="3348037"/>
          </a:xfrm>
        </p:spPr>
        <p:txBody>
          <a:bodyPr/>
          <a:lstStyle>
            <a:lvl1pPr marL="400050" indent="-400050">
              <a:buFont typeface="+mj-lt"/>
              <a:buAutoNum type="romanUcPeriod"/>
              <a:defRPr/>
            </a:lvl1pPr>
            <a:lvl2pPr marL="714375" indent="-342900">
              <a:buFont typeface="+mj-lt"/>
              <a:buAutoNum type="arabicPeriod"/>
              <a:defRPr/>
            </a:lvl2pPr>
            <a:lvl3pPr marL="1077913" indent="-342900">
              <a:buFont typeface="+mj-lt"/>
              <a:buAutoNum type="alphaLcPeriod"/>
              <a:defRPr/>
            </a:lvl3pPr>
          </a:lstStyle>
          <a:p>
            <a:pPr lvl="0"/>
            <a:r>
              <a:rPr lang="de-DE" dirty="0"/>
              <a:t>Agenda – 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292870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nhalt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05C49E-E9FD-46E2-8756-33664CCDF4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9262" y="1239837"/>
            <a:ext cx="8243887" cy="334803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085255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339114-CC24-4793-B8A5-A1E8F7AB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ntite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4C38BB-5890-431C-866C-CDD9DF4228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1B3BF2C-2D92-4633-9551-E5B1D9DB0D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0000" y="241200"/>
            <a:ext cx="7110000" cy="122400"/>
          </a:xfrm>
        </p:spPr>
        <p:txBody>
          <a:bodyPr/>
          <a:lstStyle>
            <a:lvl1pPr>
              <a:defRPr sz="800" b="0"/>
            </a:lvl1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305C49E-E9FD-46E2-8756-33664CCDF4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49263" y="1239837"/>
            <a:ext cx="4033838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E51419DF-7BDC-40C1-9FF4-E7AD6D4A6D2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9312" y="1236265"/>
            <a:ext cx="4033838" cy="3348037"/>
          </a:xfrm>
          <a:solidFill>
            <a:schemeClr val="accent3">
              <a:lumMod val="20000"/>
              <a:lumOff val="80000"/>
            </a:schemeClr>
          </a:solidFill>
        </p:spPr>
        <p:txBody>
          <a:bodyPr lIns="108000" tIns="72000" rIns="108000" bIns="72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520292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494226-E554-4FC7-B318-8585A96BF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6078970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Folie" r:id="rId33" imgW="306" imgH="306" progId="TCLayout.ActiveDocument.1">
                  <p:embed/>
                </p:oleObj>
              </mc:Choice>
              <mc:Fallback>
                <p:oleObj name="think-cell Folie" r:id="rId3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40A4461-6924-4C46-A0DC-409867383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8200DA-6877-4A0D-B76D-424E7DEE2674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0A3F1E2-0EAB-4319-8224-9763438BA8A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0"/>
            <a:ext cx="9144000" cy="90000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endParaRPr lang="de-DE" sz="4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9263" y="400266"/>
            <a:ext cx="7110000" cy="2462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9263" y="1239838"/>
            <a:ext cx="8243887" cy="3348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12000" y="4821794"/>
            <a:ext cx="43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ußzeile</a:t>
            </a: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19AFFC2D-874D-4E07-9A84-FEA05EA26F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773473" y="206488"/>
            <a:ext cx="916268" cy="457919"/>
            <a:chOff x="1516529" y="3634540"/>
            <a:chExt cx="1240583" cy="558000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A717993D-3C41-4C50-827A-C860CA8E620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516529" y="3634540"/>
              <a:ext cx="1240583" cy="558000"/>
              <a:chOff x="7856281" y="172641"/>
              <a:chExt cx="930500" cy="418528"/>
            </a:xfrm>
          </p:grpSpPr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BCEC670E-165D-40BE-964C-8427C6977D57}"/>
                  </a:ext>
                </a:extLst>
              </p:cNvPr>
              <p:cNvSpPr/>
              <p:nvPr/>
            </p:nvSpPr>
            <p:spPr bwMode="gray">
              <a:xfrm>
                <a:off x="7856281" y="172641"/>
                <a:ext cx="513034" cy="418528"/>
              </a:xfrm>
              <a:custGeom>
                <a:avLst/>
                <a:gdLst>
                  <a:gd name="connsiteX0" fmla="*/ 418433 w 453901"/>
                  <a:gd name="connsiteY0" fmla="*/ 0 h 418528"/>
                  <a:gd name="connsiteX1" fmla="*/ 0 w 453901"/>
                  <a:gd name="connsiteY1" fmla="*/ 0 h 418528"/>
                  <a:gd name="connsiteX2" fmla="*/ 0 w 453901"/>
                  <a:gd name="connsiteY2" fmla="*/ 418529 h 418528"/>
                  <a:gd name="connsiteX3" fmla="*/ 418433 w 453901"/>
                  <a:gd name="connsiteY3" fmla="*/ 418529 h 418528"/>
                  <a:gd name="connsiteX4" fmla="*/ 418433 w 453901"/>
                  <a:gd name="connsiteY4" fmla="*/ 0 h 418528"/>
                  <a:gd name="connsiteX5" fmla="*/ 418433 w 453901"/>
                  <a:gd name="connsiteY5" fmla="*/ 0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3901" h="418528">
                    <a:moveTo>
                      <a:pt x="418433" y="0"/>
                    </a:moveTo>
                    <a:lnTo>
                      <a:pt x="0" y="0"/>
                    </a:lnTo>
                    <a:lnTo>
                      <a:pt x="0" y="418529"/>
                    </a:lnTo>
                    <a:lnTo>
                      <a:pt x="418433" y="418529"/>
                    </a:lnTo>
                    <a:cubicBezTo>
                      <a:pt x="465677" y="283750"/>
                      <a:pt x="465773" y="134874"/>
                      <a:pt x="418433" y="0"/>
                    </a:cubicBezTo>
                    <a:lnTo>
                      <a:pt x="418433" y="0"/>
                    </a:lnTo>
                    <a:close/>
                  </a:path>
                </a:pathLst>
              </a:custGeom>
              <a:solidFill>
                <a:srgbClr val="CAD2E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6AE9AF3B-EFF1-4A02-A9C5-05B5C97682E6}"/>
                  </a:ext>
                </a:extLst>
              </p:cNvPr>
              <p:cNvSpPr/>
              <p:nvPr/>
            </p:nvSpPr>
            <p:spPr bwMode="gray">
              <a:xfrm>
                <a:off x="8322350" y="172641"/>
                <a:ext cx="464431" cy="418528"/>
              </a:xfrm>
              <a:custGeom>
                <a:avLst/>
                <a:gdLst>
                  <a:gd name="connsiteX0" fmla="*/ 418433 w 418433"/>
                  <a:gd name="connsiteY0" fmla="*/ 418529 h 418528"/>
                  <a:gd name="connsiteX1" fmla="*/ 0 w 418433"/>
                  <a:gd name="connsiteY1" fmla="*/ 418529 h 418528"/>
                  <a:gd name="connsiteX2" fmla="*/ 0 w 418433"/>
                  <a:gd name="connsiteY2" fmla="*/ 0 h 418528"/>
                  <a:gd name="connsiteX3" fmla="*/ 418433 w 418433"/>
                  <a:gd name="connsiteY3" fmla="*/ 0 h 418528"/>
                  <a:gd name="connsiteX4" fmla="*/ 418433 w 418433"/>
                  <a:gd name="connsiteY4" fmla="*/ 418529 h 418528"/>
                  <a:gd name="connsiteX5" fmla="*/ 418433 w 418433"/>
                  <a:gd name="connsiteY5" fmla="*/ 418529 h 41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8433" h="418528">
                    <a:moveTo>
                      <a:pt x="418433" y="418529"/>
                    </a:moveTo>
                    <a:lnTo>
                      <a:pt x="0" y="418529"/>
                    </a:lnTo>
                    <a:cubicBezTo>
                      <a:pt x="47244" y="283750"/>
                      <a:pt x="47339" y="134969"/>
                      <a:pt x="0" y="0"/>
                    </a:cubicBezTo>
                    <a:lnTo>
                      <a:pt x="418433" y="0"/>
                    </a:lnTo>
                    <a:lnTo>
                      <a:pt x="418433" y="418529"/>
                    </a:lnTo>
                    <a:lnTo>
                      <a:pt x="418433" y="4185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188B8757-E8C4-48F0-94E9-5848D163B837}"/>
                  </a:ext>
                </a:extLst>
              </p:cNvPr>
              <p:cNvSpPr/>
              <p:nvPr/>
            </p:nvSpPr>
            <p:spPr bwMode="gray">
              <a:xfrm>
                <a:off x="8595431" y="242549"/>
                <a:ext cx="117896" cy="139641"/>
              </a:xfrm>
              <a:custGeom>
                <a:avLst/>
                <a:gdLst>
                  <a:gd name="connsiteX0" fmla="*/ 109919 w 117896"/>
                  <a:gd name="connsiteY0" fmla="*/ 6863 h 139641"/>
                  <a:gd name="connsiteX1" fmla="*/ 109156 w 117896"/>
                  <a:gd name="connsiteY1" fmla="*/ 5 h 139641"/>
                  <a:gd name="connsiteX2" fmla="*/ 90488 w 117896"/>
                  <a:gd name="connsiteY2" fmla="*/ 5 h 139641"/>
                  <a:gd name="connsiteX3" fmla="*/ 78677 w 117896"/>
                  <a:gd name="connsiteY3" fmla="*/ 5720 h 139641"/>
                  <a:gd name="connsiteX4" fmla="*/ 26479 w 117896"/>
                  <a:gd name="connsiteY4" fmla="*/ 62298 h 139641"/>
                  <a:gd name="connsiteX5" fmla="*/ 26384 w 117896"/>
                  <a:gd name="connsiteY5" fmla="*/ 6958 h 139641"/>
                  <a:gd name="connsiteX6" fmla="*/ 19526 w 117896"/>
                  <a:gd name="connsiteY6" fmla="*/ 100 h 139641"/>
                  <a:gd name="connsiteX7" fmla="*/ 6858 w 117896"/>
                  <a:gd name="connsiteY7" fmla="*/ 100 h 139641"/>
                  <a:gd name="connsiteX8" fmla="*/ 0 w 117896"/>
                  <a:gd name="connsiteY8" fmla="*/ 6958 h 139641"/>
                  <a:gd name="connsiteX9" fmla="*/ 0 w 117896"/>
                  <a:gd name="connsiteY9" fmla="*/ 132783 h 139641"/>
                  <a:gd name="connsiteX10" fmla="*/ 6858 w 117896"/>
                  <a:gd name="connsiteY10" fmla="*/ 139641 h 139641"/>
                  <a:gd name="connsiteX11" fmla="*/ 19622 w 117896"/>
                  <a:gd name="connsiteY11" fmla="*/ 139641 h 139641"/>
                  <a:gd name="connsiteX12" fmla="*/ 26479 w 117896"/>
                  <a:gd name="connsiteY12" fmla="*/ 132783 h 139641"/>
                  <a:gd name="connsiteX13" fmla="*/ 26479 w 117896"/>
                  <a:gd name="connsiteY13" fmla="*/ 99922 h 139641"/>
                  <a:gd name="connsiteX14" fmla="*/ 49625 w 117896"/>
                  <a:gd name="connsiteY14" fmla="*/ 74871 h 139641"/>
                  <a:gd name="connsiteX15" fmla="*/ 85439 w 117896"/>
                  <a:gd name="connsiteY15" fmla="*/ 132783 h 139641"/>
                  <a:gd name="connsiteX16" fmla="*/ 94869 w 117896"/>
                  <a:gd name="connsiteY16" fmla="*/ 139641 h 139641"/>
                  <a:gd name="connsiteX17" fmla="*/ 114014 w 117896"/>
                  <a:gd name="connsiteY17" fmla="*/ 139641 h 139641"/>
                  <a:gd name="connsiteX18" fmla="*/ 116681 w 117896"/>
                  <a:gd name="connsiteY18" fmla="*/ 132783 h 139641"/>
                  <a:gd name="connsiteX19" fmla="*/ 67247 w 117896"/>
                  <a:gd name="connsiteY19" fmla="*/ 55154 h 139641"/>
                  <a:gd name="connsiteX20" fmla="*/ 109919 w 117896"/>
                  <a:gd name="connsiteY20" fmla="*/ 6863 h 139641"/>
                  <a:gd name="connsiteX21" fmla="*/ 109919 w 117896"/>
                  <a:gd name="connsiteY21" fmla="*/ 6863 h 13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7896" h="139641">
                    <a:moveTo>
                      <a:pt x="109919" y="6863"/>
                    </a:moveTo>
                    <a:cubicBezTo>
                      <a:pt x="113348" y="3053"/>
                      <a:pt x="112967" y="5"/>
                      <a:pt x="109156" y="5"/>
                    </a:cubicBezTo>
                    <a:lnTo>
                      <a:pt x="90488" y="5"/>
                    </a:lnTo>
                    <a:cubicBezTo>
                      <a:pt x="86677" y="5"/>
                      <a:pt x="84773" y="-376"/>
                      <a:pt x="78677" y="5720"/>
                    </a:cubicBezTo>
                    <a:lnTo>
                      <a:pt x="26479" y="62298"/>
                    </a:lnTo>
                    <a:lnTo>
                      <a:pt x="26384" y="6958"/>
                    </a:lnTo>
                    <a:cubicBezTo>
                      <a:pt x="26384" y="3148"/>
                      <a:pt x="23336" y="100"/>
                      <a:pt x="19526" y="100"/>
                    </a:cubicBezTo>
                    <a:lnTo>
                      <a:pt x="6858" y="100"/>
                    </a:lnTo>
                    <a:cubicBezTo>
                      <a:pt x="3048" y="100"/>
                      <a:pt x="0" y="3148"/>
                      <a:pt x="0" y="6958"/>
                    </a:cubicBezTo>
                    <a:lnTo>
                      <a:pt x="0" y="132783"/>
                    </a:lnTo>
                    <a:cubicBezTo>
                      <a:pt x="0" y="136593"/>
                      <a:pt x="3048" y="139641"/>
                      <a:pt x="6858" y="139641"/>
                    </a:cubicBezTo>
                    <a:lnTo>
                      <a:pt x="19622" y="139641"/>
                    </a:lnTo>
                    <a:cubicBezTo>
                      <a:pt x="23431" y="139641"/>
                      <a:pt x="26479" y="136593"/>
                      <a:pt x="26479" y="132783"/>
                    </a:cubicBezTo>
                    <a:lnTo>
                      <a:pt x="26479" y="99922"/>
                    </a:lnTo>
                    <a:lnTo>
                      <a:pt x="49625" y="74871"/>
                    </a:lnTo>
                    <a:lnTo>
                      <a:pt x="85439" y="132783"/>
                    </a:lnTo>
                    <a:cubicBezTo>
                      <a:pt x="87725" y="136593"/>
                      <a:pt x="91059" y="139641"/>
                      <a:pt x="94869" y="139641"/>
                    </a:cubicBezTo>
                    <a:lnTo>
                      <a:pt x="114014" y="139641"/>
                    </a:lnTo>
                    <a:cubicBezTo>
                      <a:pt x="117824" y="139641"/>
                      <a:pt x="119063" y="136593"/>
                      <a:pt x="116681" y="132783"/>
                    </a:cubicBezTo>
                    <a:lnTo>
                      <a:pt x="67247" y="55154"/>
                    </a:lnTo>
                    <a:lnTo>
                      <a:pt x="109919" y="6863"/>
                    </a:lnTo>
                    <a:lnTo>
                      <a:pt x="109919" y="686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B47249CD-69F6-40D3-8B18-D83D83869BFD}"/>
                  </a:ext>
                </a:extLst>
              </p:cNvPr>
              <p:cNvSpPr/>
              <p:nvPr/>
            </p:nvSpPr>
            <p:spPr bwMode="gray">
              <a:xfrm>
                <a:off x="8399217" y="242459"/>
                <a:ext cx="27717" cy="139541"/>
              </a:xfrm>
              <a:custGeom>
                <a:avLst/>
                <a:gdLst>
                  <a:gd name="connsiteX0" fmla="*/ 0 w 27717"/>
                  <a:gd name="connsiteY0" fmla="*/ 132683 h 139541"/>
                  <a:gd name="connsiteX1" fmla="*/ 6858 w 27717"/>
                  <a:gd name="connsiteY1" fmla="*/ 139541 h 139541"/>
                  <a:gd name="connsiteX2" fmla="*/ 20765 w 27717"/>
                  <a:gd name="connsiteY2" fmla="*/ 139541 h 139541"/>
                  <a:gd name="connsiteX3" fmla="*/ 27623 w 27717"/>
                  <a:gd name="connsiteY3" fmla="*/ 132683 h 139541"/>
                  <a:gd name="connsiteX4" fmla="*/ 27718 w 27717"/>
                  <a:gd name="connsiteY4" fmla="*/ 6858 h 139541"/>
                  <a:gd name="connsiteX5" fmla="*/ 20860 w 27717"/>
                  <a:gd name="connsiteY5" fmla="*/ 0 h 139541"/>
                  <a:gd name="connsiteX6" fmla="*/ 6953 w 27717"/>
                  <a:gd name="connsiteY6" fmla="*/ 0 h 139541"/>
                  <a:gd name="connsiteX7" fmla="*/ 95 w 27717"/>
                  <a:gd name="connsiteY7" fmla="*/ 6858 h 139541"/>
                  <a:gd name="connsiteX8" fmla="*/ 0 w 27717"/>
                  <a:gd name="connsiteY8" fmla="*/ 132683 h 139541"/>
                  <a:gd name="connsiteX9" fmla="*/ 0 w 27717"/>
                  <a:gd name="connsiteY9" fmla="*/ 132683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717" h="139541">
                    <a:moveTo>
                      <a:pt x="0" y="132683"/>
                    </a:moveTo>
                    <a:cubicBezTo>
                      <a:pt x="0" y="136493"/>
                      <a:pt x="3048" y="139541"/>
                      <a:pt x="6858" y="139541"/>
                    </a:cubicBezTo>
                    <a:lnTo>
                      <a:pt x="20765" y="139541"/>
                    </a:lnTo>
                    <a:cubicBezTo>
                      <a:pt x="24575" y="139541"/>
                      <a:pt x="27623" y="136493"/>
                      <a:pt x="27623" y="132683"/>
                    </a:cubicBezTo>
                    <a:lnTo>
                      <a:pt x="27718" y="6858"/>
                    </a:lnTo>
                    <a:cubicBezTo>
                      <a:pt x="27718" y="3048"/>
                      <a:pt x="24670" y="0"/>
                      <a:pt x="20860" y="0"/>
                    </a:cubicBezTo>
                    <a:lnTo>
                      <a:pt x="6953" y="0"/>
                    </a:lnTo>
                    <a:cubicBezTo>
                      <a:pt x="3143" y="0"/>
                      <a:pt x="95" y="3048"/>
                      <a:pt x="95" y="6858"/>
                    </a:cubicBezTo>
                    <a:lnTo>
                      <a:pt x="0" y="132683"/>
                    </a:lnTo>
                    <a:lnTo>
                      <a:pt x="0" y="13268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C51C278D-B489-41DE-A104-662BC509A624}"/>
                  </a:ext>
                </a:extLst>
              </p:cNvPr>
              <p:cNvSpPr/>
              <p:nvPr/>
            </p:nvSpPr>
            <p:spPr bwMode="gray">
              <a:xfrm>
                <a:off x="8455889" y="242554"/>
                <a:ext cx="110490" cy="139541"/>
              </a:xfrm>
              <a:custGeom>
                <a:avLst/>
                <a:gdLst>
                  <a:gd name="connsiteX0" fmla="*/ 82963 w 110490"/>
                  <a:gd name="connsiteY0" fmla="*/ 6858 h 139541"/>
                  <a:gd name="connsiteX1" fmla="*/ 89821 w 110490"/>
                  <a:gd name="connsiteY1" fmla="*/ 0 h 139541"/>
                  <a:gd name="connsiteX2" fmla="*/ 103632 w 110490"/>
                  <a:gd name="connsiteY2" fmla="*/ 0 h 139541"/>
                  <a:gd name="connsiteX3" fmla="*/ 110490 w 110490"/>
                  <a:gd name="connsiteY3" fmla="*/ 6858 h 139541"/>
                  <a:gd name="connsiteX4" fmla="*/ 110490 w 110490"/>
                  <a:gd name="connsiteY4" fmla="*/ 132683 h 139541"/>
                  <a:gd name="connsiteX5" fmla="*/ 103632 w 110490"/>
                  <a:gd name="connsiteY5" fmla="*/ 139541 h 139541"/>
                  <a:gd name="connsiteX6" fmla="*/ 89916 w 110490"/>
                  <a:gd name="connsiteY6" fmla="*/ 139541 h 139541"/>
                  <a:gd name="connsiteX7" fmla="*/ 83058 w 110490"/>
                  <a:gd name="connsiteY7" fmla="*/ 132683 h 139541"/>
                  <a:gd name="connsiteX8" fmla="*/ 82963 w 110490"/>
                  <a:gd name="connsiteY8" fmla="*/ 80867 h 139541"/>
                  <a:gd name="connsiteX9" fmla="*/ 27527 w 110490"/>
                  <a:gd name="connsiteY9" fmla="*/ 80867 h 139541"/>
                  <a:gd name="connsiteX10" fmla="*/ 27527 w 110490"/>
                  <a:gd name="connsiteY10" fmla="*/ 132683 h 139541"/>
                  <a:gd name="connsiteX11" fmla="*/ 20669 w 110490"/>
                  <a:gd name="connsiteY11" fmla="*/ 139541 h 139541"/>
                  <a:gd name="connsiteX12" fmla="*/ 6858 w 110490"/>
                  <a:gd name="connsiteY12" fmla="*/ 139541 h 139541"/>
                  <a:gd name="connsiteX13" fmla="*/ 0 w 110490"/>
                  <a:gd name="connsiteY13" fmla="*/ 132683 h 139541"/>
                  <a:gd name="connsiteX14" fmla="*/ 0 w 110490"/>
                  <a:gd name="connsiteY14" fmla="*/ 6858 h 139541"/>
                  <a:gd name="connsiteX15" fmla="*/ 6858 w 110490"/>
                  <a:gd name="connsiteY15" fmla="*/ 0 h 139541"/>
                  <a:gd name="connsiteX16" fmla="*/ 20669 w 110490"/>
                  <a:gd name="connsiteY16" fmla="*/ 0 h 139541"/>
                  <a:gd name="connsiteX17" fmla="*/ 27527 w 110490"/>
                  <a:gd name="connsiteY17" fmla="*/ 6858 h 139541"/>
                  <a:gd name="connsiteX18" fmla="*/ 27432 w 110490"/>
                  <a:gd name="connsiteY18" fmla="*/ 57436 h 139541"/>
                  <a:gd name="connsiteX19" fmla="*/ 82868 w 110490"/>
                  <a:gd name="connsiteY19" fmla="*/ 57436 h 139541"/>
                  <a:gd name="connsiteX20" fmla="*/ 82963 w 110490"/>
                  <a:gd name="connsiteY20" fmla="*/ 6858 h 139541"/>
                  <a:gd name="connsiteX21" fmla="*/ 82963 w 110490"/>
                  <a:gd name="connsiteY21" fmla="*/ 6858 h 139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490" h="139541">
                    <a:moveTo>
                      <a:pt x="82963" y="6858"/>
                    </a:moveTo>
                    <a:cubicBezTo>
                      <a:pt x="82963" y="3048"/>
                      <a:pt x="86011" y="0"/>
                      <a:pt x="89821" y="0"/>
                    </a:cubicBezTo>
                    <a:lnTo>
                      <a:pt x="103632" y="0"/>
                    </a:lnTo>
                    <a:cubicBezTo>
                      <a:pt x="107442" y="0"/>
                      <a:pt x="110490" y="3048"/>
                      <a:pt x="110490" y="6858"/>
                    </a:cubicBezTo>
                    <a:lnTo>
                      <a:pt x="110490" y="132683"/>
                    </a:lnTo>
                    <a:cubicBezTo>
                      <a:pt x="110490" y="136493"/>
                      <a:pt x="107442" y="139541"/>
                      <a:pt x="103632" y="139541"/>
                    </a:cubicBezTo>
                    <a:lnTo>
                      <a:pt x="89916" y="139541"/>
                    </a:lnTo>
                    <a:cubicBezTo>
                      <a:pt x="86106" y="139541"/>
                      <a:pt x="83058" y="136493"/>
                      <a:pt x="83058" y="132683"/>
                    </a:cubicBezTo>
                    <a:lnTo>
                      <a:pt x="82963" y="80867"/>
                    </a:lnTo>
                    <a:lnTo>
                      <a:pt x="27527" y="80867"/>
                    </a:lnTo>
                    <a:lnTo>
                      <a:pt x="27527" y="132683"/>
                    </a:lnTo>
                    <a:cubicBezTo>
                      <a:pt x="27527" y="136493"/>
                      <a:pt x="24479" y="139541"/>
                      <a:pt x="20669" y="139541"/>
                    </a:cubicBezTo>
                    <a:lnTo>
                      <a:pt x="6858" y="139541"/>
                    </a:lnTo>
                    <a:cubicBezTo>
                      <a:pt x="3048" y="139541"/>
                      <a:pt x="0" y="136493"/>
                      <a:pt x="0" y="132683"/>
                    </a:cubicBezTo>
                    <a:lnTo>
                      <a:pt x="0" y="6858"/>
                    </a:lnTo>
                    <a:cubicBezTo>
                      <a:pt x="0" y="3048"/>
                      <a:pt x="3048" y="0"/>
                      <a:pt x="6858" y="0"/>
                    </a:cubicBezTo>
                    <a:lnTo>
                      <a:pt x="20669" y="0"/>
                    </a:lnTo>
                    <a:cubicBezTo>
                      <a:pt x="24479" y="0"/>
                      <a:pt x="27527" y="3048"/>
                      <a:pt x="27527" y="6858"/>
                    </a:cubicBezTo>
                    <a:lnTo>
                      <a:pt x="27432" y="57436"/>
                    </a:lnTo>
                    <a:lnTo>
                      <a:pt x="82868" y="57436"/>
                    </a:lnTo>
                    <a:lnTo>
                      <a:pt x="82963" y="6858"/>
                    </a:lnTo>
                    <a:lnTo>
                      <a:pt x="82963" y="685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  <p:sp>
          <p:nvSpPr>
            <p:cNvPr id="40" name="Gleichschenkliges Dreieck 39">
              <a:extLst>
                <a:ext uri="{FF2B5EF4-FFF2-40B4-BE49-F238E27FC236}">
                  <a16:creationId xmlns:a16="http://schemas.microsoft.com/office/drawing/2014/main" id="{EDAF0627-1CCD-4B4E-8A58-AB877A56DF12}"/>
                </a:ext>
              </a:extLst>
            </p:cNvPr>
            <p:cNvSpPr/>
            <p:nvPr/>
          </p:nvSpPr>
          <p:spPr>
            <a:xfrm rot="7860000">
              <a:off x="1856408" y="3738519"/>
              <a:ext cx="178430" cy="159486"/>
            </a:xfrm>
            <a:prstGeom prst="triangle">
              <a:avLst>
                <a:gd name="adj" fmla="val 52148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0A4F6EF3-83DA-4788-A918-DEB7B61D9ADF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1738913" y="3946194"/>
              <a:ext cx="195262" cy="199110"/>
            </a:xfrm>
            <a:prstGeom prst="line">
              <a:avLst/>
            </a:prstGeom>
            <a:ln w="19050" cap="sq">
              <a:solidFill>
                <a:srgbClr val="BDC5D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A1FC4C79-B0BA-499F-BC60-7572FCE21B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24026" y="3706926"/>
              <a:ext cx="216000" cy="226800"/>
            </a:xfrm>
            <a:prstGeom prst="line">
              <a:avLst/>
            </a:prstGeom>
            <a:ln w="19050" cap="sq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Gleichschenkliges Dreieck 42">
              <a:extLst>
                <a:ext uri="{FF2B5EF4-FFF2-40B4-BE49-F238E27FC236}">
                  <a16:creationId xmlns:a16="http://schemas.microsoft.com/office/drawing/2014/main" id="{61C296BE-0EC3-444C-AFF3-B962E54EC5D2}"/>
                </a:ext>
              </a:extLst>
            </p:cNvPr>
            <p:cNvSpPr/>
            <p:nvPr/>
          </p:nvSpPr>
          <p:spPr>
            <a:xfrm rot="2760000">
              <a:off x="1869700" y="3951490"/>
              <a:ext cx="160587" cy="177207"/>
            </a:xfrm>
            <a:prstGeom prst="triangle">
              <a:avLst>
                <a:gd name="adj" fmla="val 52148"/>
              </a:avLst>
            </a:prstGeom>
            <a:solidFill>
              <a:srgbClr val="BDC5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058CF539-B23E-4BD2-B4ED-407E3F88C054}"/>
              </a:ext>
            </a:extLst>
          </p:cNvPr>
          <p:cNvSpPr txBox="1"/>
          <p:nvPr userDrawn="1"/>
        </p:nvSpPr>
        <p:spPr bwMode="gray">
          <a:xfrm>
            <a:off x="8217542" y="4821794"/>
            <a:ext cx="4756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9ACF905-E6AB-4F18-8FD9-05C1F1B89C5F}" type="slidenum">
              <a:rPr lang="de-DE" sz="800" smtClean="0"/>
              <a:pPr algn="r"/>
              <a:t>‹Nr.›</a:t>
            </a:fld>
            <a:endParaRPr lang="de-DE" sz="800" dirty="0"/>
          </a:p>
        </p:txBody>
      </p:sp>
      <p:sp>
        <p:nvSpPr>
          <p:cNvPr id="26" name="Gleichschenkliges Dreieck 25">
            <a:extLst>
              <a:ext uri="{FF2B5EF4-FFF2-40B4-BE49-F238E27FC236}">
                <a16:creationId xmlns:a16="http://schemas.microsoft.com/office/drawing/2014/main" id="{4CF24CCE-A7B6-4EED-B681-30EEC164C9DD}"/>
              </a:ext>
            </a:extLst>
          </p:cNvPr>
          <p:cNvSpPr>
            <a:spLocks noChangeAspect="1"/>
          </p:cNvSpPr>
          <p:nvPr userDrawn="1"/>
        </p:nvSpPr>
        <p:spPr bwMode="gray">
          <a:xfrm flipV="1">
            <a:off x="344439" y="900000"/>
            <a:ext cx="215995" cy="108000"/>
          </a:xfrm>
          <a:prstGeom prst="triangle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endParaRPr lang="de-DE" sz="4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B86E61B-1555-4B54-8C51-D0C2BAEE3892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DB04EBDB-6A7B-41F4-9D21-500C86167CBD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4C53E18-2E52-4A5A-BFE9-6E211A58729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6A5D2C9-8E80-4F2D-99C8-9C39CD844AC8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4A3345-E6E7-4E61-8442-D39B7168205E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1827FFE-80B9-477D-96AE-EAAD5AAE8410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0D40870-2C76-4F71-BD42-6EFF05528E0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F4B1C61-34C8-45DA-AB77-603DA8383E83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A6AC9FD-F403-4379-8988-3954EBD52B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8E6779E-0635-4B7F-803D-E85697035A8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99D28C8A-CB08-4192-ABDD-A23FBD188D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E377B75-8EB1-4F25-8C6A-A135AD8851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A6A6AF1-A6BE-4274-B88F-8252F09C734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2ECDE6AF-4A10-46FF-B72E-92A482B303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0BD9BC89-0BDB-4EBC-BE38-E58CB96531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61" name="Grafik 60">
            <a:extLst>
              <a:ext uri="{FF2B5EF4-FFF2-40B4-BE49-F238E27FC236}">
                <a16:creationId xmlns:a16="http://schemas.microsoft.com/office/drawing/2014/main" id="{619F4092-6307-4A7A-99D3-484E7137DF77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449263" y="4811349"/>
            <a:ext cx="1752476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804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1" r:id="rId2"/>
    <p:sldLayoutId id="2147483680" r:id="rId3"/>
    <p:sldLayoutId id="2147483687" r:id="rId4"/>
    <p:sldLayoutId id="2147483663" r:id="rId5"/>
    <p:sldLayoutId id="2147483664" r:id="rId6"/>
    <p:sldLayoutId id="2147483688" r:id="rId7"/>
    <p:sldLayoutId id="2147483690" r:id="rId8"/>
    <p:sldLayoutId id="2147483691" r:id="rId9"/>
    <p:sldLayoutId id="2147483695" r:id="rId10"/>
    <p:sldLayoutId id="2147483692" r:id="rId11"/>
    <p:sldLayoutId id="2147483693" r:id="rId12"/>
    <p:sldLayoutId id="2147483694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670" r:id="rId26"/>
    <p:sldLayoutId id="2147483682" r:id="rId27"/>
    <p:sldLayoutId id="2147483709" r:id="rId28"/>
  </p:sldLayoutIdLst>
  <p:hf sldNum="0"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3" userDrawn="1">
          <p15:clr>
            <a:srgbClr val="F26B43"/>
          </p15:clr>
        </p15:guide>
        <p15:guide id="2" pos="2824" userDrawn="1">
          <p15:clr>
            <a:srgbClr val="F26B43"/>
          </p15:clr>
        </p15:guide>
        <p15:guide id="3" pos="2936" userDrawn="1">
          <p15:clr>
            <a:srgbClr val="F26B43"/>
          </p15:clr>
        </p15:guide>
        <p15:guide id="4" pos="5476" userDrawn="1">
          <p15:clr>
            <a:srgbClr val="F26B43"/>
          </p15:clr>
        </p15:guide>
        <p15:guide id="5" orient="horz" pos="781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emf"/><Relationship Id="rId7" Type="http://schemas.openxmlformats.org/officeDocument/2006/relationships/image" Target="../media/image1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10" Type="http://schemas.openxmlformats.org/officeDocument/2006/relationships/image" Target="../media/image20.emf"/><Relationship Id="rId4" Type="http://schemas.openxmlformats.org/officeDocument/2006/relationships/image" Target="../media/image14.emf"/><Relationship Id="rId9" Type="http://schemas.openxmlformats.org/officeDocument/2006/relationships/image" Target="../media/image19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Teller, Essen, Tisch, Salat enthält.&#10;&#10;Automatisch generierte Beschreibung">
            <a:extLst>
              <a:ext uri="{FF2B5EF4-FFF2-40B4-BE49-F238E27FC236}">
                <a16:creationId xmlns:a16="http://schemas.microsoft.com/office/drawing/2014/main" id="{5B2B5894-C56F-45AD-8041-6E36D9E0760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21541" b="21541"/>
          <a:stretch>
            <a:fillRect/>
          </a:stretch>
        </p:blipFill>
        <p:spPr>
          <a:xfrm>
            <a:off x="-1600" y="0"/>
            <a:ext cx="9144000" cy="3470400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78AB47FA-962D-453A-B930-130D218B1C1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Neuordnung der</a:t>
            </a:r>
            <a:br>
              <a:rPr lang="de-DE" dirty="0"/>
            </a:br>
            <a:r>
              <a:rPr lang="de-DE" dirty="0"/>
              <a:t>Küchenberufe 2022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ED29024F-B90E-4ACB-8E50-4327F62EF6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Infoveranstaltung IHK Dortmund</a:t>
            </a:r>
          </a:p>
          <a:p>
            <a:r>
              <a:rPr lang="de-DE" dirty="0"/>
              <a:t>am 27.04.2022</a:t>
            </a:r>
          </a:p>
        </p:txBody>
      </p:sp>
    </p:spTree>
    <p:extLst>
      <p:ext uri="{BB962C8B-B14F-4D97-AF65-F5344CB8AC3E}">
        <p14:creationId xmlns:p14="http://schemas.microsoft.com/office/powerpoint/2010/main" val="31053550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B879A2-C8F3-4BEE-B13A-18F6696320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C0AF431C-2056-459D-9A4E-F465C9A51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400266"/>
            <a:ext cx="7110000" cy="246221"/>
          </a:xfrm>
        </p:spPr>
        <p:txBody>
          <a:bodyPr/>
          <a:lstStyle/>
          <a:p>
            <a:r>
              <a:rPr lang="de-DE" b="1" dirty="0"/>
              <a:t>Ausbildungsinhalte Koch/Köchin</a:t>
            </a:r>
            <a:r>
              <a:rPr lang="de-DE" dirty="0"/>
              <a:t>	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3373EB7-1522-4EE9-A5C0-665948C8AB4B}"/>
              </a:ext>
            </a:extLst>
          </p:cNvPr>
          <p:cNvSpPr txBox="1"/>
          <p:nvPr/>
        </p:nvSpPr>
        <p:spPr>
          <a:xfrm>
            <a:off x="6086706" y="4544795"/>
            <a:ext cx="2480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baseline="0" dirty="0">
                <a:solidFill>
                  <a:srgbClr val="373737"/>
                </a:solidFill>
              </a:rPr>
              <a:t>+ … = nach AP </a:t>
            </a:r>
            <a:r>
              <a:rPr lang="de-DE" sz="1200" baseline="0" dirty="0">
                <a:solidFill>
                  <a:srgbClr val="373737"/>
                </a:solidFill>
              </a:rPr>
              <a:t>1</a:t>
            </a:r>
          </a:p>
        </p:txBody>
      </p:sp>
      <p:pic>
        <p:nvPicPr>
          <p:cNvPr id="12" name="Inhaltsplatzhalter 11">
            <a:extLst>
              <a:ext uri="{FF2B5EF4-FFF2-40B4-BE49-F238E27FC236}">
                <a16:creationId xmlns:a16="http://schemas.microsoft.com/office/drawing/2014/main" id="{96BCD73A-6E60-4BD7-82E8-8512D42B25B7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49263" y="1060122"/>
            <a:ext cx="7497308" cy="3533407"/>
          </a:xfr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F8B6609-F3A8-420C-9320-28836FCFA899}"/>
              </a:ext>
            </a:extLst>
          </p:cNvPr>
          <p:cNvSpPr txBox="1"/>
          <p:nvPr/>
        </p:nvSpPr>
        <p:spPr>
          <a:xfrm>
            <a:off x="7946571" y="3407229"/>
            <a:ext cx="238125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*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4E4CC9D-9AC1-4C05-8BF1-AB6511ACD5B3}"/>
              </a:ext>
            </a:extLst>
          </p:cNvPr>
          <p:cNvSpPr txBox="1"/>
          <p:nvPr/>
        </p:nvSpPr>
        <p:spPr>
          <a:xfrm>
            <a:off x="7946571" y="3947198"/>
            <a:ext cx="238125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*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C157DB0-E8B6-48F2-9ABE-985B445CF584}"/>
              </a:ext>
            </a:extLst>
          </p:cNvPr>
          <p:cNvSpPr txBox="1"/>
          <p:nvPr/>
        </p:nvSpPr>
        <p:spPr>
          <a:xfrm>
            <a:off x="7946571" y="4285753"/>
            <a:ext cx="238125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*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17EFE77-4240-415A-BD98-FCB56905C4E2}"/>
              </a:ext>
            </a:extLst>
          </p:cNvPr>
          <p:cNvSpPr txBox="1"/>
          <p:nvPr/>
        </p:nvSpPr>
        <p:spPr>
          <a:xfrm>
            <a:off x="7944530" y="4575572"/>
            <a:ext cx="193221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899324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B879A2-C8F3-4BEE-B13A-18F6696320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C0AF431C-2056-459D-9A4E-F465C9A51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400266"/>
            <a:ext cx="7110000" cy="246221"/>
          </a:xfrm>
        </p:spPr>
        <p:txBody>
          <a:bodyPr/>
          <a:lstStyle/>
          <a:p>
            <a:r>
              <a:rPr lang="de-DE" b="1" dirty="0"/>
              <a:t>Ausbildungsinhalte Koch/Köchin</a:t>
            </a:r>
            <a:br>
              <a:rPr lang="de-DE" b="1" dirty="0"/>
            </a:br>
            <a:r>
              <a:rPr lang="de-DE" dirty="0"/>
              <a:t>	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3373EB7-1522-4EE9-A5C0-665948C8AB4B}"/>
              </a:ext>
            </a:extLst>
          </p:cNvPr>
          <p:cNvSpPr txBox="1"/>
          <p:nvPr/>
        </p:nvSpPr>
        <p:spPr>
          <a:xfrm>
            <a:off x="6445935" y="4544795"/>
            <a:ext cx="24803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baseline="0" dirty="0">
                <a:solidFill>
                  <a:srgbClr val="373737"/>
                </a:solidFill>
              </a:rPr>
              <a:t>+ … = vor AP 1</a:t>
            </a: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D4FD4A6A-35DB-4DDA-B932-1113E6202902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49263" y="1017209"/>
            <a:ext cx="7802108" cy="3433862"/>
          </a:xfr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169A5DA-D566-41FB-9CF6-47CEDBC30775}"/>
              </a:ext>
            </a:extLst>
          </p:cNvPr>
          <p:cNvSpPr txBox="1"/>
          <p:nvPr/>
        </p:nvSpPr>
        <p:spPr>
          <a:xfrm>
            <a:off x="8251371" y="1741714"/>
            <a:ext cx="238125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*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E474112-8BF8-4239-B9D2-A54C1CA2ADBA}"/>
              </a:ext>
            </a:extLst>
          </p:cNvPr>
          <p:cNvSpPr txBox="1"/>
          <p:nvPr/>
        </p:nvSpPr>
        <p:spPr>
          <a:xfrm>
            <a:off x="8251371" y="4498628"/>
            <a:ext cx="238125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40490901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74E8D6-4A9E-4FCB-8158-F77DB23A6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 geänderte Formulierungen	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FACE668-21A5-4826-8C32-A5885BC30D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9229" y="1432997"/>
            <a:ext cx="2628000" cy="3226089"/>
          </a:xfrm>
        </p:spPr>
        <p:txBody>
          <a:bodyPr/>
          <a:lstStyle/>
          <a:p>
            <a:r>
              <a:rPr lang="de-DE" dirty="0"/>
              <a:t>Genaue Angaben</a:t>
            </a:r>
          </a:p>
          <a:p>
            <a:endParaRPr lang="de-DE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de-DE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Garverfahren unterscheiden und anwenden, </a:t>
            </a:r>
            <a:r>
              <a:rPr lang="de-DE" b="0" i="0" u="none" strike="noStrike" baseline="0" dirty="0">
                <a:solidFill>
                  <a:srgbClr val="000000"/>
                </a:solidFill>
                <a:highlight>
                  <a:srgbClr val="FF9900"/>
                </a:highlight>
                <a:latin typeface="Arial" panose="020B0604020202020204" pitchFamily="34" charset="0"/>
              </a:rPr>
              <a:t>insbesondere Blanchieren, Kochen, Braten, Frittieren und Dünsten </a:t>
            </a:r>
          </a:p>
          <a:p>
            <a:r>
              <a:rPr lang="de-DE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  <a:endParaRPr lang="de-DE" b="0" i="0" u="none" strike="noStrike" baseline="0" dirty="0"/>
          </a:p>
          <a:p>
            <a:r>
              <a:rPr lang="de-DE" b="0" i="0" u="none" strike="noStrike" baseline="0" dirty="0">
                <a:solidFill>
                  <a:srgbClr val="000000"/>
                </a:solidFill>
                <a:highlight>
                  <a:srgbClr val="FF9900"/>
                </a:highlight>
              </a:rPr>
              <a:t>Rücken, Schulter und Keule </a:t>
            </a:r>
            <a:r>
              <a:rPr lang="de-DE" b="0" i="0" u="none" strike="noStrike" baseline="0" dirty="0">
                <a:solidFill>
                  <a:srgbClr val="000000"/>
                </a:solidFill>
              </a:rPr>
              <a:t>auslösen </a:t>
            </a:r>
          </a:p>
          <a:p>
            <a:pPr lvl="0"/>
            <a:endParaRPr lang="de-DE" dirty="0"/>
          </a:p>
          <a:p>
            <a:pPr lvl="0"/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D6F6E02-1E7A-42B5-BA2A-4A7FC7177B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68317" y="1432997"/>
            <a:ext cx="2628000" cy="3236975"/>
          </a:xfrm>
        </p:spPr>
        <p:txBody>
          <a:bodyPr/>
          <a:lstStyle/>
          <a:p>
            <a:pPr lvl="0"/>
            <a:r>
              <a:rPr lang="de-DE" dirty="0"/>
              <a:t>Betriebliche Ausgestaltung</a:t>
            </a:r>
          </a:p>
          <a:p>
            <a:r>
              <a:rPr lang="de-DE" b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eisen und Gerichte in verschiedenen Formen nach </a:t>
            </a:r>
            <a:r>
              <a:rPr lang="de-DE" b="0" dirty="0">
                <a:solidFill>
                  <a:schemeClr val="tx1"/>
                </a:solidFill>
                <a:effectLst/>
                <a:highlight>
                  <a:srgbClr val="FF9900"/>
                </a:highlight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trieblichen Vorgaben </a:t>
            </a:r>
            <a:r>
              <a:rPr lang="de-DE" b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richten</a:t>
            </a:r>
            <a:r>
              <a:rPr lang="de-DE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	</a:t>
            </a:r>
          </a:p>
          <a:p>
            <a:pPr lvl="1"/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03EF8C34-8AAD-44A0-80F1-2FD472BA2C43}"/>
              </a:ext>
            </a:extLst>
          </p:cNvPr>
          <p:cNvSpPr txBox="1">
            <a:spLocks/>
          </p:cNvSpPr>
          <p:nvPr/>
        </p:nvSpPr>
        <p:spPr bwMode="gray">
          <a:xfrm>
            <a:off x="3318773" y="1422111"/>
            <a:ext cx="2628000" cy="32369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vert="horz" lIns="108000" tIns="72000" rIns="108000" bIns="7200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Unterschiedliche Tiefe</a:t>
            </a:r>
          </a:p>
          <a:p>
            <a:endParaRPr lang="de-DE" sz="1600" b="0" i="0" u="none" strike="noStrike" baseline="0" dirty="0">
              <a:solidFill>
                <a:srgbClr val="000000"/>
              </a:solidFill>
            </a:endParaRPr>
          </a:p>
          <a:p>
            <a:r>
              <a:rPr lang="de-DE" sz="1600" b="0" i="0" u="none" strike="noStrike" baseline="0" dirty="0">
                <a:solidFill>
                  <a:srgbClr val="000000"/>
                </a:solidFill>
              </a:rPr>
              <a:t>Innereien und ihre Zubereitungsarten </a:t>
            </a:r>
            <a:r>
              <a:rPr lang="de-DE" sz="1600" b="0" i="0" u="none" strike="noStrike" baseline="0" dirty="0">
                <a:solidFill>
                  <a:srgbClr val="000000"/>
                </a:solidFill>
                <a:highlight>
                  <a:srgbClr val="FF9900"/>
                </a:highlight>
              </a:rPr>
              <a:t>unterscheiden</a:t>
            </a:r>
            <a:r>
              <a:rPr lang="de-DE" sz="1600" b="0" i="0" u="none" strike="noStrike" baseline="0" dirty="0">
                <a:solidFill>
                  <a:srgbClr val="000000"/>
                </a:solidFill>
              </a:rPr>
              <a:t> </a:t>
            </a:r>
          </a:p>
          <a:p>
            <a:endParaRPr lang="de-DE" b="0" dirty="0">
              <a:solidFill>
                <a:srgbClr val="000000"/>
              </a:solidFill>
            </a:endParaRPr>
          </a:p>
          <a:p>
            <a:r>
              <a:rPr lang="de-DE" sz="16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Strudelteig und Blätterteig </a:t>
            </a:r>
            <a:r>
              <a:rPr lang="de-DE" sz="1600" b="0" i="0" u="none" strike="noStrike" baseline="0" dirty="0">
                <a:solidFill>
                  <a:srgbClr val="000000"/>
                </a:solidFill>
                <a:highlight>
                  <a:srgbClr val="FF9900"/>
                </a:highlight>
                <a:latin typeface="Arial" panose="020B0604020202020204" pitchFamily="34" charset="0"/>
              </a:rPr>
              <a:t>verarbeiten</a:t>
            </a:r>
            <a:r>
              <a:rPr lang="de-DE" sz="16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endParaRPr lang="de-DE" sz="16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de-DE" sz="16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Nudelteig </a:t>
            </a:r>
            <a:r>
              <a:rPr lang="de-DE" sz="1600" b="0" i="0" u="none" strike="noStrike" baseline="0" dirty="0">
                <a:solidFill>
                  <a:srgbClr val="000000"/>
                </a:solidFill>
                <a:highlight>
                  <a:srgbClr val="FF9900"/>
                </a:highlight>
                <a:latin typeface="Arial" panose="020B0604020202020204" pitchFamily="34" charset="0"/>
              </a:rPr>
              <a:t>herstellen</a:t>
            </a:r>
            <a:r>
              <a:rPr lang="de-DE" sz="16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endParaRPr lang="de-DE" sz="16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de-DE" sz="16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50130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27">
            <a:extLst>
              <a:ext uri="{FF2B5EF4-FFF2-40B4-BE49-F238E27FC236}">
                <a16:creationId xmlns:a16="http://schemas.microsoft.com/office/drawing/2014/main" id="{C0AF431C-2056-459D-9A4E-F465C9A51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400265"/>
            <a:ext cx="7110000" cy="246221"/>
          </a:xfrm>
        </p:spPr>
        <p:txBody>
          <a:bodyPr/>
          <a:lstStyle/>
          <a:p>
            <a:r>
              <a:rPr lang="de-DE" b="1" dirty="0"/>
              <a:t>Zusatzqualifikation: Vertiefung vegetarische und vegane Küche</a:t>
            </a:r>
            <a:br>
              <a:rPr lang="de-DE" b="1" dirty="0"/>
            </a:br>
            <a:br>
              <a:rPr lang="de-DE" b="1" dirty="0"/>
            </a:br>
            <a:r>
              <a:rPr lang="de-DE" dirty="0"/>
              <a:t>	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7900E04D-BEAF-4DAF-AA3D-AB86376241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263" y="1111605"/>
            <a:ext cx="7962066" cy="352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8149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üfungen Fachkraft Küche</a:t>
            </a:r>
            <a:r>
              <a:rPr lang="de-DE" dirty="0"/>
              <a:t>	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B0041E7-AAAD-4FA0-A1E7-8FA9A84E16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02" t="12056" r="-1802" b="4422"/>
          <a:stretch/>
        </p:blipFill>
        <p:spPr>
          <a:xfrm>
            <a:off x="756607" y="1020320"/>
            <a:ext cx="7191592" cy="3722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6306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üfungen Fachkraft Küche: ZP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ED89454-9BDA-4834-837A-2180C3167AD4}"/>
              </a:ext>
            </a:extLst>
          </p:cNvPr>
          <p:cNvSpPr txBox="1"/>
          <p:nvPr/>
        </p:nvSpPr>
        <p:spPr>
          <a:xfrm>
            <a:off x="449262" y="1648228"/>
            <a:ext cx="658290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Listen für den Waren- und den Materialbedarf  erstel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die Arbeitsschritte pla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den Arbeitsplatz einrich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4043399-F948-4D00-99CC-882441A25D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4263" y="224646"/>
            <a:ext cx="3027907" cy="59746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A10C8A6E-956C-49BA-B4D4-5F3C9F383F99}"/>
              </a:ext>
            </a:extLst>
          </p:cNvPr>
          <p:cNvSpPr txBox="1"/>
          <p:nvPr/>
        </p:nvSpPr>
        <p:spPr>
          <a:xfrm>
            <a:off x="438377" y="3031170"/>
            <a:ext cx="7802109" cy="375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/>
              <a:t>Salate, Eierspeisen oder einfache Gemüsegerichte zubereiten und anricht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86ACEE2-D591-4FF8-991A-6581A1724F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377" y="1105587"/>
            <a:ext cx="3145809" cy="43285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C1952E9-52DE-438B-8F19-37B4BA1A91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377" y="2532017"/>
            <a:ext cx="3034166" cy="43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7176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üfungen Fachkraft Küche: AP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ED89454-9BDA-4834-837A-2180C3167AD4}"/>
              </a:ext>
            </a:extLst>
          </p:cNvPr>
          <p:cNvSpPr txBox="1"/>
          <p:nvPr/>
        </p:nvSpPr>
        <p:spPr>
          <a:xfrm>
            <a:off x="348343" y="1648420"/>
            <a:ext cx="81425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…..siehe Verordnung</a:t>
            </a:r>
            <a:r>
              <a:rPr lang="de-DE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10C8A6E-956C-49BA-B4D4-5F3C9F383F99}"/>
              </a:ext>
            </a:extLst>
          </p:cNvPr>
          <p:cNvSpPr txBox="1"/>
          <p:nvPr/>
        </p:nvSpPr>
        <p:spPr>
          <a:xfrm>
            <a:off x="492037" y="2607129"/>
            <a:ext cx="7837714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de-DE" sz="14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als Vorspeise einen Salat oder eine einfache Suppe für vier Personen zubereiten und anrich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ein einfaches Hauptgericht mit Schlachtfleisch, Hausgeflügel oder Fisch, mit einer Soße, mit einer Gemüsebeilage und mit einer Sättigungsbeilage für vier Personen zubereiten und anricht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</a:rPr>
              <a:t>Danach auftragsbezogenes Fachgespräch (in den 4 h enthalten)</a:t>
            </a:r>
            <a:endParaRPr lang="de-DE" sz="14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06125E4-50B0-47F1-86A0-B5A3C5DE28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263" y="1073514"/>
            <a:ext cx="3097036" cy="54868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5DD45F2-A2FB-4FE2-A009-B5B65E2279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842" y="2140641"/>
            <a:ext cx="3023878" cy="54868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50D35B9-F57C-407B-8D17-33CB19DD56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4263" y="172825"/>
            <a:ext cx="3139712" cy="701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020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üfungen Fachkraft Küche: AP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2580EC7-3208-442E-89BC-C90C2959CE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4263" y="191115"/>
            <a:ext cx="3139712" cy="664522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9AEABAB6-3289-4916-BE97-25B940CF3D57}"/>
              </a:ext>
            </a:extLst>
          </p:cNvPr>
          <p:cNvSpPr txBox="1"/>
          <p:nvPr/>
        </p:nvSpPr>
        <p:spPr>
          <a:xfrm>
            <a:off x="492036" y="1190693"/>
            <a:ext cx="4324663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1 Warenkorb für praktische Prüfung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9AEF28B-27F3-4F31-9AED-7D2024656673}"/>
              </a:ext>
            </a:extLst>
          </p:cNvPr>
          <p:cNvSpPr txBox="1">
            <a:spLocks/>
          </p:cNvSpPr>
          <p:nvPr/>
        </p:nvSpPr>
        <p:spPr>
          <a:xfrm>
            <a:off x="5856515" y="1796143"/>
            <a:ext cx="2569028" cy="285205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Vorga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Bekanntgabe vor Termin:</a:t>
            </a:r>
          </a:p>
          <a:p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      14 </a:t>
            </a:r>
            <a:r>
              <a:rPr lang="de-DE" sz="1400" b="0" dirty="0" err="1">
                <a:solidFill>
                  <a:schemeClr val="tx1">
                    <a:lumMod val="10000"/>
                  </a:schemeClr>
                </a:solidFill>
              </a:rPr>
              <a:t>KALENDERtage</a:t>
            </a: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Muss verschiedene Zubereitungsvarianten ermöglich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Arbeitsablaufplan ist nur optional</a:t>
            </a:r>
            <a:endParaRPr lang="de-DE" sz="1400" dirty="0">
              <a:solidFill>
                <a:schemeClr val="tx1">
                  <a:lumMod val="10000"/>
                </a:schemeClr>
              </a:solidFill>
            </a:endParaRP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5EFC949C-4BEE-48C9-859E-E36CF067A1AD}"/>
              </a:ext>
            </a:extLst>
          </p:cNvPr>
          <p:cNvSpPr txBox="1">
            <a:spLocks/>
          </p:cNvSpPr>
          <p:nvPr/>
        </p:nvSpPr>
        <p:spPr>
          <a:xfrm>
            <a:off x="492037" y="1796143"/>
            <a:ext cx="2871650" cy="285205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flichtbestandteile</a:t>
            </a:r>
          </a:p>
          <a:p>
            <a:r>
              <a:rPr lang="de-DE" sz="1400" b="0" dirty="0">
                <a:solidFill>
                  <a:srgbClr val="000000"/>
                </a:solidFill>
                <a:latin typeface="Arial" panose="020B0604020202020204" pitchFamily="34" charset="0"/>
              </a:rPr>
              <a:t>Alle Lebensmittel für:</a:t>
            </a:r>
            <a:endParaRPr lang="de-DE" sz="1400" b="0" dirty="0">
              <a:solidFill>
                <a:srgbClr val="000000"/>
              </a:solidFill>
              <a:highlight>
                <a:srgbClr val="BDC5D0"/>
              </a:highlight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(als Vorspeise) einen Salat oder eine einfache Suppe für vier Personen</a:t>
            </a:r>
            <a:endParaRPr lang="de-DE" sz="16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ein einfaches Hauptgericht mit Schlachtfleisch, Hausgeflügel oder Fisch, mit einer Soße, mit einer Gemüsebeilage und mit einer Sättigungsbeilage für vier Personen</a:t>
            </a:r>
            <a:endParaRPr lang="de-DE" dirty="0"/>
          </a:p>
          <a:p>
            <a:endParaRPr lang="de-DE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9E88E31-FB8C-4794-9781-A2333034F917}"/>
              </a:ext>
            </a:extLst>
          </p:cNvPr>
          <p:cNvSpPr txBox="1">
            <a:spLocks/>
          </p:cNvSpPr>
          <p:nvPr/>
        </p:nvSpPr>
        <p:spPr>
          <a:xfrm>
            <a:off x="3568588" y="1796143"/>
            <a:ext cx="2083026" cy="285205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ahlbestandteile</a:t>
            </a:r>
          </a:p>
          <a:p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z. B..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Gewür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Spirituo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Kräu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F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…..</a:t>
            </a:r>
          </a:p>
          <a:p>
            <a:endParaRPr lang="de-DE" sz="1400" dirty="0">
              <a:solidFill>
                <a:schemeClr val="tx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7198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üfungen Koch/Köchin</a:t>
            </a:r>
            <a:br>
              <a:rPr lang="de-DE" b="1" dirty="0"/>
            </a:b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D3C1B75-0E62-41A5-ADA6-9644AF3D64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395" t="14983" b="-141"/>
          <a:stretch/>
        </p:blipFill>
        <p:spPr>
          <a:xfrm>
            <a:off x="1345343" y="1017395"/>
            <a:ext cx="6938848" cy="379970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9CC8015F-D144-45BE-B7CC-96E919421FD7}"/>
              </a:ext>
            </a:extLst>
          </p:cNvPr>
          <p:cNvSpPr txBox="1"/>
          <p:nvPr/>
        </p:nvSpPr>
        <p:spPr>
          <a:xfrm>
            <a:off x="546717" y="3337765"/>
            <a:ext cx="1597252" cy="64633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/>
              <a:t>Zusatzqualifikation </a:t>
            </a:r>
          </a:p>
          <a:p>
            <a:pPr algn="ctr"/>
            <a:r>
              <a:rPr lang="de-DE" sz="1200" b="1" dirty="0"/>
              <a:t>Schriftl. Aufgaben</a:t>
            </a:r>
          </a:p>
          <a:p>
            <a:pPr algn="ctr"/>
            <a:r>
              <a:rPr lang="de-DE" sz="1200" b="1" dirty="0"/>
              <a:t>      (90 Minuten)	</a:t>
            </a:r>
          </a:p>
        </p:txBody>
      </p:sp>
    </p:spTree>
    <p:extLst>
      <p:ext uri="{BB962C8B-B14F-4D97-AF65-F5344CB8AC3E}">
        <p14:creationId xmlns:p14="http://schemas.microsoft.com/office/powerpoint/2010/main" val="2554756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üfungen Koch/Köchi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AEABAB6-3289-4916-BE97-25B940CF3D57}"/>
              </a:ext>
            </a:extLst>
          </p:cNvPr>
          <p:cNvSpPr txBox="1"/>
          <p:nvPr/>
        </p:nvSpPr>
        <p:spPr>
          <a:xfrm>
            <a:off x="449263" y="1073538"/>
            <a:ext cx="4324663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2 Warenkörbe für praktische Prüfung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5EFC949C-4BEE-48C9-859E-E36CF067A1AD}"/>
              </a:ext>
            </a:extLst>
          </p:cNvPr>
          <p:cNvSpPr txBox="1">
            <a:spLocks/>
          </p:cNvSpPr>
          <p:nvPr/>
        </p:nvSpPr>
        <p:spPr>
          <a:xfrm>
            <a:off x="449263" y="1442870"/>
            <a:ext cx="5487898" cy="317267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flichtbestandteile (in 2 Varianten)</a:t>
            </a:r>
          </a:p>
          <a:p>
            <a:r>
              <a:rPr lang="de-DE" sz="1400" b="0" dirty="0">
                <a:solidFill>
                  <a:srgbClr val="000000"/>
                </a:solidFill>
                <a:latin typeface="Arial" panose="020B0604020202020204" pitchFamily="34" charset="0"/>
              </a:rPr>
              <a:t>Alle Lebensmittel für:</a:t>
            </a:r>
            <a:endParaRPr lang="de-DE" sz="1400" b="0" i="0" u="none" strike="noStrike" baseline="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</a:rPr>
              <a:t>eine warme oder kalte Vorspeise oder eine Suppe als Vorspeis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ein Hauptgericht aus Schlachtfleisch, Wild, Hausgeflügel oder Fisch, aus einer gezogenen Soße, aus zwei Gemüsebeilagen unter Verwendung verschiedenen Garverfahren und aus einer Sättigungsbeila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ein Dessert mit einer Cremespeise und mit einer gefrorenen oder einer gebackenen Komponente unter Verwendung von zwei verschiedenen Zubereitungsarten </a:t>
            </a:r>
          </a:p>
          <a:p>
            <a:endParaRPr lang="de-DE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9E88E31-FB8C-4794-9781-A2333034F917}"/>
              </a:ext>
            </a:extLst>
          </p:cNvPr>
          <p:cNvSpPr txBox="1">
            <a:spLocks/>
          </p:cNvSpPr>
          <p:nvPr/>
        </p:nvSpPr>
        <p:spPr>
          <a:xfrm>
            <a:off x="6595941" y="1430427"/>
            <a:ext cx="1926643" cy="318511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ahlbestandteile</a:t>
            </a:r>
          </a:p>
          <a:p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z. 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Gewür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Spirituo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Kräu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F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…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dirty="0">
              <a:solidFill>
                <a:schemeClr val="tx1">
                  <a:lumMod val="1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dirty="0">
              <a:solidFill>
                <a:schemeClr val="tx1">
                  <a:lumMod val="1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Evtl. nur 1 x für beide Varianten</a:t>
            </a:r>
          </a:p>
          <a:p>
            <a:endParaRPr lang="de-DE" sz="1400" dirty="0">
              <a:solidFill>
                <a:schemeClr val="tx1">
                  <a:lumMod val="10000"/>
                </a:schemeClr>
              </a:solidFill>
            </a:endParaRP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F5B7280C-86C7-499B-A42D-54517FC41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5314" y="158664"/>
            <a:ext cx="3483429" cy="6732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tx1">
                <a:lumMod val="95000"/>
                <a:lumOff val="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b="1" kern="0" dirty="0">
                <a:solidFill>
                  <a:srgbClr val="2D2D8A">
                    <a:lumMod val="50000"/>
                  </a:srgbClr>
                </a:solidFill>
                <a:latin typeface="Arial" charset="0"/>
              </a:rPr>
              <a:t>Planen, Zubereiten und Präsentieren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b="1" kern="0" dirty="0">
                <a:solidFill>
                  <a:srgbClr val="2D2D8A">
                    <a:lumMod val="50000"/>
                  </a:srgbClr>
                </a:solidFill>
                <a:latin typeface="Arial" charset="0"/>
              </a:rPr>
              <a:t>eines Drei-Gänge-Menüs für 6 Personen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b="1" kern="0" dirty="0">
                <a:solidFill>
                  <a:srgbClr val="2D2D8A">
                    <a:lumMod val="50000"/>
                  </a:srgbClr>
                </a:solidFill>
                <a:latin typeface="Arial" charset="0"/>
              </a:rPr>
              <a:t>Arbeitsaufgabe (6 Stunden)</a:t>
            </a:r>
          </a:p>
        </p:txBody>
      </p:sp>
    </p:spTree>
    <p:extLst>
      <p:ext uri="{BB962C8B-B14F-4D97-AF65-F5344CB8AC3E}">
        <p14:creationId xmlns:p14="http://schemas.microsoft.com/office/powerpoint/2010/main" val="1828628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Ablauf für die Vorstellung der Küchenberufe</a:t>
            </a:r>
            <a:br>
              <a:rPr lang="de-DE" b="1" dirty="0"/>
            </a:br>
            <a:endParaRPr lang="de-DE" b="1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AEABAB6-3289-4916-BE97-25B940CF3D57}"/>
              </a:ext>
            </a:extLst>
          </p:cNvPr>
          <p:cNvSpPr txBox="1"/>
          <p:nvPr/>
        </p:nvSpPr>
        <p:spPr>
          <a:xfrm>
            <a:off x="449263" y="1073538"/>
            <a:ext cx="4324663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Das erwartet Sie: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5EFC949C-4BEE-48C9-859E-E36CF067A1AD}"/>
              </a:ext>
            </a:extLst>
          </p:cNvPr>
          <p:cNvSpPr txBox="1">
            <a:spLocks/>
          </p:cNvSpPr>
          <p:nvPr/>
        </p:nvSpPr>
        <p:spPr>
          <a:xfrm>
            <a:off x="449263" y="1442870"/>
            <a:ext cx="5127289" cy="297673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rgbClr val="000000"/>
                </a:solidFill>
              </a:rPr>
              <a:t>Wer saß mit am Tisch bei der Neuordnung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rgbClr val="000000"/>
                </a:solidFill>
              </a:rPr>
              <a:t>Die wesentlichen Änderungen im Überbli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rgbClr val="000000"/>
                </a:solidFill>
              </a:rPr>
              <a:t>Vorstellung der zwei Berufe im Küchenberei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</a:rPr>
              <a:t>Ausbildungsinhalte Fachkraft Küche und Koch/Köch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rgbClr val="000000"/>
                </a:solidFill>
              </a:rPr>
              <a:t>Formulierungen der Ausbildungsinhal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rgbClr val="000000"/>
                </a:solidFill>
              </a:rPr>
              <a:t>Prüfungsstruktur Fachkraft Küch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</a:rPr>
              <a:t>Prüfungsstruktur Koch/Köch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i="0" u="none" strike="noStrike" baseline="0" dirty="0">
                <a:solidFill>
                  <a:srgbClr val="000000"/>
                </a:solidFill>
              </a:rPr>
              <a:t>Zutaten für eine erfolgreiche Ausbildung</a:t>
            </a:r>
            <a:endParaRPr lang="de-DE" sz="1400" b="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i="0" u="none" strike="noStrike" baseline="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i="0" u="none" strike="noStrike" baseline="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de-DE" dirty="0"/>
          </a:p>
        </p:txBody>
      </p:sp>
      <p:pic>
        <p:nvPicPr>
          <p:cNvPr id="5" name="Grafik 4" descr="Ein Bild, das Wand, Person, drinnen, darstellend enthält.&#10;&#10;Automatisch generierte Beschreibung">
            <a:extLst>
              <a:ext uri="{FF2B5EF4-FFF2-40B4-BE49-F238E27FC236}">
                <a16:creationId xmlns:a16="http://schemas.microsoft.com/office/drawing/2014/main" id="{1CFAB6B7-B676-4BB4-AF08-86E59EDEF4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9578" y="1211052"/>
            <a:ext cx="2188862" cy="1751090"/>
          </a:xfrm>
          <a:prstGeom prst="rect">
            <a:avLst/>
          </a:prstGeom>
        </p:spPr>
      </p:pic>
      <p:sp>
        <p:nvSpPr>
          <p:cNvPr id="9" name="Textplatzhalter 5">
            <a:extLst>
              <a:ext uri="{FF2B5EF4-FFF2-40B4-BE49-F238E27FC236}">
                <a16:creationId xmlns:a16="http://schemas.microsoft.com/office/drawing/2014/main" id="{F6AD25D0-89AD-4303-A8AA-7610205B05B6}"/>
              </a:ext>
            </a:extLst>
          </p:cNvPr>
          <p:cNvSpPr txBox="1">
            <a:spLocks/>
          </p:cNvSpPr>
          <p:nvPr/>
        </p:nvSpPr>
        <p:spPr>
          <a:xfrm>
            <a:off x="5806547" y="3096196"/>
            <a:ext cx="3081695" cy="215838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b="0" dirty="0">
                <a:solidFill>
                  <a:srgbClr val="000000"/>
                </a:solidFill>
              </a:rPr>
              <a:t>Angela Rademacher</a:t>
            </a:r>
          </a:p>
          <a:p>
            <a:endParaRPr lang="de-DE" sz="1400" b="0" dirty="0">
              <a:solidFill>
                <a:srgbClr val="000000"/>
              </a:solidFill>
            </a:endParaRPr>
          </a:p>
          <a:p>
            <a:r>
              <a:rPr lang="de-DE" sz="1200" b="0" dirty="0">
                <a:solidFill>
                  <a:srgbClr val="000000"/>
                </a:solidFill>
              </a:rPr>
              <a:t>Ausbildungsberaterin</a:t>
            </a:r>
          </a:p>
          <a:p>
            <a:r>
              <a:rPr lang="de-DE" sz="1200" b="0" dirty="0">
                <a:solidFill>
                  <a:srgbClr val="000000"/>
                </a:solidFill>
              </a:rPr>
              <a:t>IHK Arnsberg, Hellweg-Sauerland</a:t>
            </a:r>
          </a:p>
          <a:p>
            <a:r>
              <a:rPr lang="de-DE" sz="1200" b="0" dirty="0">
                <a:solidFill>
                  <a:srgbClr val="000000"/>
                </a:solidFill>
              </a:rPr>
              <a:t>Königstr. 18 – 20, 59821 Arnsberg</a:t>
            </a:r>
          </a:p>
          <a:p>
            <a:r>
              <a:rPr lang="de-DE" sz="1200" b="0" dirty="0">
                <a:solidFill>
                  <a:srgbClr val="000000"/>
                </a:solidFill>
              </a:rPr>
              <a:t>02931 878-113</a:t>
            </a:r>
          </a:p>
          <a:p>
            <a:r>
              <a:rPr lang="de-DE" sz="1200" b="0" dirty="0">
                <a:solidFill>
                  <a:srgbClr val="000000"/>
                </a:solidFill>
              </a:rPr>
              <a:t>rademacher@arnsberg.ihk.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i="0" u="none" strike="noStrike" baseline="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i="0" u="none" strike="noStrike" baseline="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64981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üfungen Koch/Köchi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AEABAB6-3289-4916-BE97-25B940CF3D57}"/>
              </a:ext>
            </a:extLst>
          </p:cNvPr>
          <p:cNvSpPr txBox="1"/>
          <p:nvPr/>
        </p:nvSpPr>
        <p:spPr>
          <a:xfrm>
            <a:off x="449263" y="1073538"/>
            <a:ext cx="4324663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2 Warenkörbe für praktische Prüfung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9AEF28B-27F3-4F31-9AED-7D2024656673}"/>
              </a:ext>
            </a:extLst>
          </p:cNvPr>
          <p:cNvSpPr txBox="1">
            <a:spLocks/>
          </p:cNvSpPr>
          <p:nvPr/>
        </p:nvSpPr>
        <p:spPr>
          <a:xfrm>
            <a:off x="449263" y="1553844"/>
            <a:ext cx="7878308" cy="28331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blau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Bekanntgabe vor Termin: 14 </a:t>
            </a:r>
            <a:r>
              <a:rPr lang="de-DE" sz="1400" b="0" dirty="0" err="1">
                <a:solidFill>
                  <a:schemeClr val="tx1">
                    <a:lumMod val="10000"/>
                  </a:schemeClr>
                </a:solidFill>
              </a:rPr>
              <a:t>KALENDERtage</a:t>
            </a: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Der Warenkorb muss verschiedene Zubereitungsvarianten ermöglich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Für beide Varianten bringt der Prüfling eine Menüplanung mit (wird nicht bewert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Der Prüfungsausschuss bestimmt Variant 1 oder 2 für den Prüfungstag und bereitet entsprechend v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Der Prüfling schreibt am Prüfungstag den Arbeitsablaufplan für diese Variante (45 mi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Danach wird dazu ein fallbezogenes Fachgespräch geführt (15 mi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Zubereitung und Präsentation des Menüs (5 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dirty="0">
              <a:solidFill>
                <a:schemeClr val="tx1">
                  <a:lumMod val="1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>
                  <a:lumMod val="10000"/>
                </a:schemeClr>
              </a:solidFill>
            </a:endParaRP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F5B7280C-86C7-499B-A42D-54517FC41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5314" y="158664"/>
            <a:ext cx="3483429" cy="6732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b="1" kern="0" dirty="0">
                <a:solidFill>
                  <a:srgbClr val="2D2D8A">
                    <a:lumMod val="50000"/>
                  </a:srgbClr>
                </a:solidFill>
                <a:latin typeface="Arial" charset="0"/>
              </a:rPr>
              <a:t>Planen, Zubereiten und Präsentieren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b="1" kern="0" dirty="0">
                <a:solidFill>
                  <a:srgbClr val="2D2D8A">
                    <a:lumMod val="50000"/>
                  </a:srgbClr>
                </a:solidFill>
                <a:latin typeface="Arial" charset="0"/>
              </a:rPr>
              <a:t>eines Drei-Gänge-Menüs für 6 Personen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400" b="1" kern="0" dirty="0">
                <a:solidFill>
                  <a:srgbClr val="2D2D8A">
                    <a:lumMod val="50000"/>
                  </a:srgbClr>
                </a:solidFill>
                <a:latin typeface="Arial" charset="0"/>
              </a:rPr>
              <a:t>Arbeitsaufgabe (6 Stunden)</a:t>
            </a:r>
          </a:p>
        </p:txBody>
      </p:sp>
    </p:spTree>
    <p:extLst>
      <p:ext uri="{BB962C8B-B14F-4D97-AF65-F5344CB8AC3E}">
        <p14:creationId xmlns:p14="http://schemas.microsoft.com/office/powerpoint/2010/main" val="32721341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Zutaten für eine erfolgreiche Ausbildung				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9AEF28B-27F3-4F31-9AED-7D2024656673}"/>
              </a:ext>
            </a:extLst>
          </p:cNvPr>
          <p:cNvSpPr txBox="1">
            <a:spLocks/>
          </p:cNvSpPr>
          <p:nvPr/>
        </p:nvSpPr>
        <p:spPr>
          <a:xfrm>
            <a:off x="449263" y="1155200"/>
            <a:ext cx="7878308" cy="3588034"/>
          </a:xfrm>
          <a:prstGeom prst="rect">
            <a:avLst/>
          </a:prstGeom>
          <a:noFill/>
        </p:spPr>
        <p:txBody>
          <a:bodyPr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400" b="0" dirty="0">
              <a:solidFill>
                <a:schemeClr val="tx1">
                  <a:lumMod val="1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Stellen Sie sicher, dass Sie </a:t>
            </a:r>
            <a:r>
              <a:rPr lang="de-DE" sz="1400" dirty="0">
                <a:solidFill>
                  <a:schemeClr val="tx1">
                    <a:lumMod val="10000"/>
                  </a:schemeClr>
                </a:solidFill>
              </a:rPr>
              <a:t>und Ihr Team </a:t>
            </a: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auf die Aufgabe Ausbildung vorbereitet sind</a:t>
            </a:r>
            <a:r>
              <a:rPr lang="de-DE" sz="1400" dirty="0">
                <a:solidFill>
                  <a:schemeClr val="tx1">
                    <a:lumMod val="10000"/>
                  </a:schemeClr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Beachten Sie die Abfolge der Ausbildungsinhalte. Die Prüfungen bauen darauf auf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Stellen Sie den Auszubildenden den Ausbildungsplan zur Verfügung und sprechen Sie die Inhalte gemeinsam durc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Stellen Sie sich auf die Merkmale der neuen Generation(en) ei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Seien Sie das Vorbild für wertschätzenden Umgang und vermitteln Sie Ihre Freude am Jo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Bereiten Sie Ihre jungen Nachwuchskräfte auf eine gestreckte Abschlussprüfung (= zwei zeitlich auseinanderfallende Teile) vo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0" dirty="0">
                <a:solidFill>
                  <a:schemeClr val="tx1">
                    <a:lumMod val="10000"/>
                  </a:schemeClr>
                </a:solidFill>
              </a:rPr>
              <a:t>Melden Sie sich gern bei uns, wenn es hakt. Wir sind für Sie d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b="0" dirty="0">
              <a:solidFill>
                <a:schemeClr val="tx1">
                  <a:lumMod val="1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3152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16BB14-ACD9-4A25-AA6E-E895919195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Zu guter Letzt: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C1A67AF-E132-49B6-A3D1-8D84B616BAF6}"/>
              </a:ext>
            </a:extLst>
          </p:cNvPr>
          <p:cNvSpPr txBox="1"/>
          <p:nvPr/>
        </p:nvSpPr>
        <p:spPr>
          <a:xfrm>
            <a:off x="1661374" y="1434594"/>
            <a:ext cx="532541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dirty="0">
                <a:solidFill>
                  <a:schemeClr val="tx1">
                    <a:lumMod val="10000"/>
                  </a:schemeClr>
                </a:solidFill>
              </a:rPr>
              <a:t>Sie haben es geschafft.</a:t>
            </a:r>
          </a:p>
          <a:p>
            <a:pPr algn="ctr"/>
            <a:endParaRPr lang="de-DE" sz="1800" dirty="0">
              <a:solidFill>
                <a:schemeClr val="tx1">
                  <a:lumMod val="10000"/>
                </a:schemeClr>
              </a:solidFill>
            </a:endParaRPr>
          </a:p>
          <a:p>
            <a:pPr algn="ctr"/>
            <a:r>
              <a:rPr lang="de-DE" sz="1800" dirty="0">
                <a:solidFill>
                  <a:schemeClr val="tx1">
                    <a:lumMod val="10000"/>
                  </a:schemeClr>
                </a:solidFill>
              </a:rPr>
              <a:t>Vielen Dank </a:t>
            </a:r>
            <a:r>
              <a:rPr lang="de-DE" sz="1800" dirty="0" err="1">
                <a:solidFill>
                  <a:schemeClr val="tx1">
                    <a:lumMod val="10000"/>
                  </a:schemeClr>
                </a:solidFill>
              </a:rPr>
              <a:t>für´s</a:t>
            </a:r>
            <a:r>
              <a:rPr lang="de-DE" sz="1800" dirty="0">
                <a:solidFill>
                  <a:schemeClr val="tx1">
                    <a:lumMod val="10000"/>
                  </a:schemeClr>
                </a:solidFill>
              </a:rPr>
              <a:t> Zuhören.</a:t>
            </a:r>
          </a:p>
          <a:p>
            <a:pPr algn="ctr"/>
            <a:endParaRPr lang="de-DE" sz="1800" dirty="0">
              <a:solidFill>
                <a:schemeClr val="tx1">
                  <a:lumMod val="10000"/>
                </a:schemeClr>
              </a:solidFill>
            </a:endParaRPr>
          </a:p>
          <a:p>
            <a:pPr algn="ctr"/>
            <a:r>
              <a:rPr lang="de-DE" sz="1800" dirty="0">
                <a:solidFill>
                  <a:schemeClr val="tx1">
                    <a:lumMod val="10000"/>
                  </a:schemeClr>
                </a:solidFill>
              </a:rPr>
              <a:t>Gern können wir jetzt offene Fragen klären.</a:t>
            </a:r>
          </a:p>
        </p:txBody>
      </p:sp>
    </p:spTree>
    <p:extLst>
      <p:ext uri="{BB962C8B-B14F-4D97-AF65-F5344CB8AC3E}">
        <p14:creationId xmlns:p14="http://schemas.microsoft.com/office/powerpoint/2010/main" val="2091387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C52475-9448-4616-9F9E-E7F2EFF89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Wer saß mit am Tisch bei der Neuordnung</a:t>
            </a:r>
            <a:br>
              <a:rPr lang="de-DE" b="1" dirty="0"/>
            </a:br>
            <a:endParaRPr lang="de-DE" b="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316FD0C-FA38-4E91-8065-68D90BE78C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979" y="1388644"/>
            <a:ext cx="2695074" cy="84221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8026ACC-CDF1-49E3-A295-39DE9E9527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0954" y="1377772"/>
            <a:ext cx="2310063" cy="126331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FDCFB2F-247B-4A02-AC0D-2B750A876B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8197" y="1458379"/>
            <a:ext cx="2310063" cy="119861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55CD5D14-743A-4A6A-B61B-B4244C62C7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17879" y="1479185"/>
            <a:ext cx="1746610" cy="89825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9B387CC-9AE4-47B6-A1DC-8B4F42DB88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2965" y="3292182"/>
            <a:ext cx="3187427" cy="887926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13AFE04F-5334-457E-82F9-B2CF7BCE3D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96034" y="3263594"/>
            <a:ext cx="1263348" cy="125514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B87EF102-77FC-419F-9E3A-B2703ACF813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48828" y="3480319"/>
            <a:ext cx="1828800" cy="1299411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8D3D9E9D-76C0-4920-85D2-55D82A35A59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17879" y="3210139"/>
            <a:ext cx="1541417" cy="130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022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21BD93-6759-4AAC-80ED-090A4AC6C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Wesentliche Änderungen 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6AB87E8-C3EB-4211-9AA0-54AEB4BB5AC7}"/>
              </a:ext>
            </a:extLst>
          </p:cNvPr>
          <p:cNvSpPr txBox="1"/>
          <p:nvPr/>
        </p:nvSpPr>
        <p:spPr>
          <a:xfrm>
            <a:off x="449263" y="1279088"/>
            <a:ext cx="8245474" cy="30013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lnSpc>
                <a:spcPct val="150000"/>
              </a:lnSpc>
              <a:buClr>
                <a:srgbClr val="009DD4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rgbClr val="2C2C2C"/>
                </a:solidFill>
              </a:rPr>
              <a:t>Zweijähriger Ausbildungsberuf Fachkraft Küche mit Zwischen- und Abschlussprüfung</a:t>
            </a:r>
          </a:p>
          <a:p>
            <a:pPr marL="285750" indent="-285750" algn="l">
              <a:lnSpc>
                <a:spcPct val="150000"/>
              </a:lnSpc>
              <a:buClr>
                <a:srgbClr val="009DD4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rgbClr val="2C2C2C"/>
                </a:solidFill>
              </a:rPr>
              <a:t>Gestreckte Abschlussprüfung für den Beruf Koch/Köchin</a:t>
            </a:r>
          </a:p>
          <a:p>
            <a:pPr marL="285750" indent="-285750">
              <a:lnSpc>
                <a:spcPct val="150000"/>
              </a:lnSpc>
              <a:buClr>
                <a:srgbClr val="009DD4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rgbClr val="2C2C2C"/>
                </a:solidFill>
              </a:rPr>
              <a:t>Neue Aufteilung/Verschiebung der Ausbildungsinhalte</a:t>
            </a:r>
          </a:p>
          <a:p>
            <a:pPr marL="285750" indent="-285750" algn="l">
              <a:lnSpc>
                <a:spcPct val="150000"/>
              </a:lnSpc>
              <a:buClr>
                <a:srgbClr val="009DD4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rgbClr val="2C2C2C"/>
                </a:solidFill>
              </a:rPr>
              <a:t>Die zeitliche Gliederung der Ausbildung bekommt eine größere Bedeutung, da die Ausbildungsinhalte der ersten 18 Monate für die Abschlussprüfung Teil 1 relevant sind.</a:t>
            </a:r>
          </a:p>
          <a:p>
            <a:pPr marL="285750" indent="-285750" algn="l">
              <a:lnSpc>
                <a:spcPct val="150000"/>
              </a:lnSpc>
              <a:buClr>
                <a:srgbClr val="009DD4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rgbClr val="2C2C2C"/>
                </a:solidFill>
              </a:rPr>
              <a:t>Bundeseinheitliche Zusatzqualifikation „Vertiefung vegetarische und vegane Küche“</a:t>
            </a:r>
          </a:p>
          <a:p>
            <a:pPr marL="285750" indent="-285750" algn="l">
              <a:lnSpc>
                <a:spcPct val="150000"/>
              </a:lnSpc>
              <a:buClr>
                <a:srgbClr val="009DD4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rgbClr val="2C2C2C"/>
                </a:solidFill>
              </a:rPr>
              <a:t>Neue Berufsbildposition „Digitalisierte Arbeitswelt“ </a:t>
            </a:r>
          </a:p>
          <a:p>
            <a:pPr marL="285750" indent="-285750" algn="l">
              <a:lnSpc>
                <a:spcPct val="150000"/>
              </a:lnSpc>
              <a:buClr>
                <a:srgbClr val="009DD4"/>
              </a:buClr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rgbClr val="2C2C2C"/>
                </a:solidFill>
              </a:rPr>
              <a:t>„Rückfalloption“ von Koch/Köchin auf Fachkraft Küche</a:t>
            </a:r>
          </a:p>
        </p:txBody>
      </p:sp>
    </p:spTree>
    <p:extLst>
      <p:ext uri="{BB962C8B-B14F-4D97-AF65-F5344CB8AC3E}">
        <p14:creationId xmlns:p14="http://schemas.microsoft.com/office/powerpoint/2010/main" val="321244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5E7D390-94B2-44A9-AB08-69C1780D0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Neu: ein zweijähriger Beruf im Küchenbereich</a:t>
            </a:r>
            <a:br>
              <a:rPr lang="de-DE" b="1" dirty="0"/>
            </a:br>
            <a:r>
              <a:rPr lang="de-DE" dirty="0"/>
              <a:t>	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AEC2D9E-D36E-4FBA-9C97-13269D8A4B28}"/>
              </a:ext>
            </a:extLst>
          </p:cNvPr>
          <p:cNvGrpSpPr/>
          <p:nvPr/>
        </p:nvGrpSpPr>
        <p:grpSpPr>
          <a:xfrm>
            <a:off x="523066" y="1038225"/>
            <a:ext cx="8096278" cy="3705009"/>
            <a:chOff x="1461391" y="1530469"/>
            <a:chExt cx="8476557" cy="4681347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EB59363-BE97-4F49-9B5F-4D7942BF8ECD}"/>
                </a:ext>
              </a:extLst>
            </p:cNvPr>
            <p:cNvSpPr/>
            <p:nvPr/>
          </p:nvSpPr>
          <p:spPr bwMode="auto">
            <a:xfrm>
              <a:off x="1825535" y="1531221"/>
              <a:ext cx="1620000" cy="4679999"/>
            </a:xfrm>
            <a:prstGeom prst="rect">
              <a:avLst/>
            </a:prstGeom>
            <a:solidFill>
              <a:srgbClr val="D1DFEA"/>
            </a:solidFill>
            <a:ln w="19050" cap="flat" cmpd="sng" algn="ctr">
              <a:solidFill>
                <a:srgbClr val="13376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82"/>
                  </a:solidFill>
                  <a:effectLst/>
                  <a:uLnTx/>
                  <a:uFillTx/>
                  <a:ea typeface="+mn-ea"/>
                  <a:cs typeface="+mn-cs"/>
                </a:rPr>
                <a:t>Koch/Köchin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3882"/>
                  </a:solidFill>
                  <a:effectLst/>
                  <a:uLnTx/>
                  <a:uFillTx/>
                  <a:ea typeface="+mn-ea"/>
                  <a:cs typeface="+mn-cs"/>
                </a:rPr>
                <a:t>Fachkraft Küche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B58CF1A-116B-4FFC-BF8D-E40B9D653D9D}"/>
                </a:ext>
              </a:extLst>
            </p:cNvPr>
            <p:cNvSpPr/>
            <p:nvPr/>
          </p:nvSpPr>
          <p:spPr bwMode="auto">
            <a:xfrm>
              <a:off x="6708410" y="1531221"/>
              <a:ext cx="1620000" cy="468000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ea typeface="+mn-ea"/>
                  <a:cs typeface="+mn-cs"/>
                </a:rPr>
                <a:t>Hotelfachmann/      -fachfrau</a:t>
              </a: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90" b="0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90" b="0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F29828D8-12A0-4EE7-A7A4-A14CE2ECA10E}"/>
                </a:ext>
              </a:extLst>
            </p:cNvPr>
            <p:cNvSpPr/>
            <p:nvPr/>
          </p:nvSpPr>
          <p:spPr bwMode="auto">
            <a:xfrm>
              <a:off x="5077948" y="1531223"/>
              <a:ext cx="1619793" cy="4680000"/>
            </a:xfrm>
            <a:prstGeom prst="rect">
              <a:avLst/>
            </a:prstGeom>
            <a:ln w="9525"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7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5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ea typeface="+mn-ea"/>
                  <a:cs typeface="+mn-cs"/>
                </a:rPr>
                <a:t>Fachmann/-frau für Restaurants und Veranstaltungs-gastronomie</a:t>
              </a: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82"/>
                  </a:solidFill>
                  <a:effectLst/>
                  <a:uLnTx/>
                  <a:uFillTx/>
                  <a:ea typeface="+mn-ea"/>
                  <a:cs typeface="+mn-cs"/>
                </a:rPr>
                <a:t>SP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82"/>
                  </a:solidFill>
                  <a:effectLst/>
                  <a:uLnTx/>
                  <a:uFillTx/>
                  <a:ea typeface="+mn-ea"/>
                  <a:cs typeface="+mn-cs"/>
                </a:rPr>
                <a:t> Restaurant-service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C15857C9-A3E4-41DC-9C73-367FA58C8F7A}"/>
                </a:ext>
              </a:extLst>
            </p:cNvPr>
            <p:cNvSpPr/>
            <p:nvPr/>
          </p:nvSpPr>
          <p:spPr bwMode="auto">
            <a:xfrm>
              <a:off x="3449026" y="1531816"/>
              <a:ext cx="1620000" cy="468000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ea typeface="+mn-ea"/>
                  <a:cs typeface="+mn-cs"/>
                </a:rPr>
                <a:t>Fachmann/-frau für System-gastronomie </a:t>
              </a: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ea typeface="+mn-ea"/>
                <a:cs typeface="+mn-cs"/>
              </a:endParaRP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82"/>
                  </a:solidFill>
                  <a:effectLst/>
                  <a:uLnTx/>
                  <a:uFillTx/>
                  <a:ea typeface="+mn-ea"/>
                  <a:cs typeface="+mn-cs"/>
                </a:rPr>
                <a:t>SP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82"/>
                  </a:solidFill>
                  <a:effectLst/>
                  <a:uLnTx/>
                  <a:uFillTx/>
                  <a:ea typeface="+mn-ea"/>
                  <a:cs typeface="+mn-cs"/>
                </a:rPr>
                <a:t> System-gastronomie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0A3CBD03-069D-4CCA-BB4E-37670D3D0D9C}"/>
                </a:ext>
              </a:extLst>
            </p:cNvPr>
            <p:cNvSpPr/>
            <p:nvPr/>
          </p:nvSpPr>
          <p:spPr bwMode="auto">
            <a:xfrm>
              <a:off x="8317948" y="1531223"/>
              <a:ext cx="1620000" cy="468000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ea typeface="+mn-ea"/>
                  <a:cs typeface="+mn-cs"/>
                </a:rPr>
                <a:t>Kaufmann</a:t>
              </a:r>
              <a:r>
                <a:rPr lang="de-DE" sz="1400" b="1" kern="0" dirty="0">
                  <a:solidFill>
                    <a:srgbClr val="0070C0"/>
                  </a:solidFill>
                </a:rPr>
                <a:t>/</a:t>
              </a: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ea typeface="+mn-ea"/>
                  <a:cs typeface="+mn-cs"/>
                </a:rPr>
                <a:t>-frau für Hotel-management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AF1DC6E5-B554-439A-BFFB-8882A945B646}"/>
                </a:ext>
              </a:extLst>
            </p:cNvPr>
            <p:cNvSpPr txBox="1"/>
            <p:nvPr/>
          </p:nvSpPr>
          <p:spPr>
            <a:xfrm>
              <a:off x="1463885" y="2431039"/>
              <a:ext cx="339265" cy="3497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33769"/>
                  </a:solidFill>
                  <a:effectLst/>
                  <a:uLnTx/>
                  <a:uFillTx/>
                </a:rPr>
                <a:t>3.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CB879AC0-9371-4E23-809E-917D06FA51EE}"/>
                </a:ext>
              </a:extLst>
            </p:cNvPr>
            <p:cNvSpPr txBox="1"/>
            <p:nvPr/>
          </p:nvSpPr>
          <p:spPr>
            <a:xfrm>
              <a:off x="1461391" y="3711771"/>
              <a:ext cx="334376" cy="3410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50" b="1" i="0" u="none" strike="noStrike" kern="0" cap="none" spc="0" normalizeH="0" baseline="0" noProof="0" dirty="0">
                  <a:ln>
                    <a:noFill/>
                  </a:ln>
                  <a:solidFill>
                    <a:srgbClr val="133769"/>
                  </a:solidFill>
                  <a:effectLst/>
                  <a:uLnTx/>
                  <a:uFillTx/>
                </a:rPr>
                <a:t>2.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E86546B4-9EBB-48CD-9D8E-B63EA5C1B79C}"/>
                </a:ext>
              </a:extLst>
            </p:cNvPr>
            <p:cNvSpPr txBox="1"/>
            <p:nvPr/>
          </p:nvSpPr>
          <p:spPr>
            <a:xfrm>
              <a:off x="1461391" y="5198252"/>
              <a:ext cx="339265" cy="3497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33769"/>
                  </a:solidFill>
                  <a:effectLst/>
                  <a:uLnTx/>
                  <a:uFillTx/>
                </a:rPr>
                <a:t>1.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56BA6390-13BD-47FE-AE78-083CA097B7C8}"/>
                </a:ext>
              </a:extLst>
            </p:cNvPr>
            <p:cNvSpPr/>
            <p:nvPr/>
          </p:nvSpPr>
          <p:spPr bwMode="auto">
            <a:xfrm>
              <a:off x="3473353" y="3313309"/>
              <a:ext cx="3235058" cy="2880000"/>
            </a:xfrm>
            <a:prstGeom prst="rect">
              <a:avLst/>
            </a:prstGeom>
            <a:noFill/>
            <a:ln w="38100" cap="flat" cmpd="sng" algn="ctr">
              <a:solidFill>
                <a:srgbClr val="133769"/>
              </a:solidFill>
              <a:prstDash val="solid"/>
              <a:miter lim="800000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200" b="0" i="0" u="none" strike="noStrike" kern="0" cap="none" spc="0" normalizeH="0" baseline="0" noProof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5F0CBBD2-09B0-44BF-B822-9C76B7C90243}"/>
                </a:ext>
              </a:extLst>
            </p:cNvPr>
            <p:cNvSpPr/>
            <p:nvPr/>
          </p:nvSpPr>
          <p:spPr bwMode="auto">
            <a:xfrm>
              <a:off x="2377948" y="1541105"/>
              <a:ext cx="1080000" cy="360040"/>
            </a:xfrm>
            <a:prstGeom prst="rect">
              <a:avLst/>
            </a:prstGeom>
            <a:solidFill>
              <a:srgbClr val="133769"/>
            </a:solidFill>
            <a:ln>
              <a:solidFill>
                <a:srgbClr val="133769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Teil 2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96BDC0FD-4111-4D60-AFCC-B2CD8D29641A}"/>
                </a:ext>
              </a:extLst>
            </p:cNvPr>
            <p:cNvSpPr/>
            <p:nvPr/>
          </p:nvSpPr>
          <p:spPr bwMode="auto">
            <a:xfrm>
              <a:off x="3985535" y="1534716"/>
              <a:ext cx="1080000" cy="36004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Teil 2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07B6C6BD-E388-439B-B7BF-46189504E13E}"/>
                </a:ext>
              </a:extLst>
            </p:cNvPr>
            <p:cNvSpPr/>
            <p:nvPr/>
          </p:nvSpPr>
          <p:spPr bwMode="auto">
            <a:xfrm>
              <a:off x="5605038" y="1530469"/>
              <a:ext cx="1080000" cy="36004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Teil 2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F3E8DACC-F6A1-41FE-A885-ABBD8165A4CB}"/>
                </a:ext>
              </a:extLst>
            </p:cNvPr>
            <p:cNvSpPr/>
            <p:nvPr/>
          </p:nvSpPr>
          <p:spPr bwMode="auto">
            <a:xfrm>
              <a:off x="8857948" y="1530469"/>
              <a:ext cx="1080000" cy="36004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Teil 2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B997AA77-C931-40AD-8A37-758DDD57F1FD}"/>
                </a:ext>
              </a:extLst>
            </p:cNvPr>
            <p:cNvSpPr/>
            <p:nvPr/>
          </p:nvSpPr>
          <p:spPr bwMode="auto">
            <a:xfrm>
              <a:off x="7237948" y="1541105"/>
              <a:ext cx="1080000" cy="36004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Teil 2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B0D609CB-D191-4302-AF67-AE299D62781B}"/>
                </a:ext>
              </a:extLst>
            </p:cNvPr>
            <p:cNvSpPr txBox="1"/>
            <p:nvPr/>
          </p:nvSpPr>
          <p:spPr>
            <a:xfrm>
              <a:off x="3676559" y="4763461"/>
              <a:ext cx="2892707" cy="427769"/>
            </a:xfrm>
            <a:prstGeom prst="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</a:rPr>
                <a:t>Fachkraft für Gastronomie</a:t>
              </a:r>
            </a:p>
          </p:txBody>
        </p:sp>
        <p:sp>
          <p:nvSpPr>
            <p:cNvPr id="27" name="Geschweifte Klammer rechts 26">
              <a:extLst>
                <a:ext uri="{FF2B5EF4-FFF2-40B4-BE49-F238E27FC236}">
                  <a16:creationId xmlns:a16="http://schemas.microsoft.com/office/drawing/2014/main" id="{9307F36B-B1E2-4748-AF9E-817EEACFEEB3}"/>
                </a:ext>
              </a:extLst>
            </p:cNvPr>
            <p:cNvSpPr/>
            <p:nvPr/>
          </p:nvSpPr>
          <p:spPr bwMode="auto">
            <a:xfrm>
              <a:off x="3541270" y="4844857"/>
              <a:ext cx="275185" cy="1296000"/>
            </a:xfrm>
            <a:prstGeom prst="rightBrace">
              <a:avLst>
                <a:gd name="adj1" fmla="val 8333"/>
                <a:gd name="adj2" fmla="val 50000"/>
              </a:avLst>
            </a:prstGeom>
            <a:noFill/>
            <a:ln w="19050" cap="flat" cmpd="sng" algn="ctr">
              <a:solidFill>
                <a:srgbClr val="13376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200" b="0" i="0" u="none" strike="noStrike" kern="0" cap="none" spc="0" normalizeH="0" baseline="0" noProof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D011AF9C-6DF3-4391-9EBF-A122B825889D}"/>
                </a:ext>
              </a:extLst>
            </p:cNvPr>
            <p:cNvSpPr txBox="1"/>
            <p:nvPr/>
          </p:nvSpPr>
          <p:spPr>
            <a:xfrm>
              <a:off x="3858746" y="5191311"/>
              <a:ext cx="2466735" cy="58332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1001">
              <a:schemeClr val="lt2"/>
            </a:fillRef>
            <a:effectRef idx="0">
              <a:scrgbClr r="0" g="0" b="0"/>
            </a:effectRef>
            <a:fontRef idx="major"/>
          </p:style>
          <p:txBody>
            <a:bodyPr wrap="square" rtlCol="0">
              <a:spAutoFit/>
            </a:bodyPr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0821A"/>
                  </a:solidFill>
                  <a:effectLst/>
                  <a:uLnTx/>
                  <a:uFillTx/>
                </a:rPr>
                <a:t>zwei Jahre gemeinsam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0821A"/>
                  </a:solidFill>
                  <a:effectLst/>
                  <a:uLnTx/>
                  <a:uFillTx/>
                </a:rPr>
                <a:t>Beschulungsmöglichkeit </a:t>
              </a:r>
            </a:p>
          </p:txBody>
        </p:sp>
        <p:sp>
          <p:nvSpPr>
            <p:cNvPr id="29" name="Geschweifte Klammer rechts 28">
              <a:extLst>
                <a:ext uri="{FF2B5EF4-FFF2-40B4-BE49-F238E27FC236}">
                  <a16:creationId xmlns:a16="http://schemas.microsoft.com/office/drawing/2014/main" id="{5D224044-125F-47C2-A48F-832D3F873EA7}"/>
                </a:ext>
              </a:extLst>
            </p:cNvPr>
            <p:cNvSpPr/>
            <p:nvPr/>
          </p:nvSpPr>
          <p:spPr bwMode="auto">
            <a:xfrm rot="10800000">
              <a:off x="6353772" y="4844857"/>
              <a:ext cx="275185" cy="1296000"/>
            </a:xfrm>
            <a:prstGeom prst="rightBrace">
              <a:avLst>
                <a:gd name="adj1" fmla="val 8333"/>
                <a:gd name="adj2" fmla="val 50000"/>
              </a:avLst>
            </a:prstGeom>
            <a:noFill/>
            <a:ln w="19050" cap="flat" cmpd="sng" algn="ctr">
              <a:solidFill>
                <a:srgbClr val="13376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200" b="0" i="0" u="none" strike="noStrike" kern="0" cap="none" spc="0" normalizeH="0" baseline="0" noProof="0" dirty="0">
                <a:ln>
                  <a:noFill/>
                </a:ln>
                <a:solidFill>
                  <a:srgbClr val="003882"/>
                </a:solidFill>
                <a:effectLst/>
                <a:highlight>
                  <a:srgbClr val="003469"/>
                </a:highlight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83B0064E-3425-4E6F-852B-A30E33A12B7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866957" y="4345254"/>
              <a:ext cx="4818081" cy="0"/>
            </a:xfrm>
            <a:prstGeom prst="line">
              <a:avLst/>
            </a:prstGeom>
            <a:noFill/>
            <a:ln w="19050" cap="flat" cmpd="sng" algn="ctr">
              <a:solidFill>
                <a:srgbClr val="133769"/>
              </a:solidFill>
              <a:prstDash val="dashDot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ED076C58-3790-44C6-B4F7-CE2DCBEDFB76}"/>
                </a:ext>
              </a:extLst>
            </p:cNvPr>
            <p:cNvSpPr txBox="1"/>
            <p:nvPr/>
          </p:nvSpPr>
          <p:spPr>
            <a:xfrm>
              <a:off x="3114975" y="4419115"/>
              <a:ext cx="3110396" cy="34977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133769"/>
                  </a:solidFill>
                  <a:effectLst/>
                  <a:uLnTx/>
                  <a:uFillTx/>
                </a:rPr>
                <a:t>nach 12 Monaten Zwischenprüfung</a:t>
              </a:r>
            </a:p>
          </p:txBody>
        </p:sp>
        <p:sp>
          <p:nvSpPr>
            <p:cNvPr id="32" name="Geschweifte Klammer rechts 31">
              <a:extLst>
                <a:ext uri="{FF2B5EF4-FFF2-40B4-BE49-F238E27FC236}">
                  <a16:creationId xmlns:a16="http://schemas.microsoft.com/office/drawing/2014/main" id="{79AB043D-F501-44D7-9B74-B3B404392861}"/>
                </a:ext>
              </a:extLst>
            </p:cNvPr>
            <p:cNvSpPr/>
            <p:nvPr/>
          </p:nvSpPr>
          <p:spPr bwMode="auto">
            <a:xfrm>
              <a:off x="1870558" y="3335371"/>
              <a:ext cx="286342" cy="2844791"/>
            </a:xfrm>
            <a:prstGeom prst="rightBrace">
              <a:avLst/>
            </a:prstGeom>
            <a:noFill/>
            <a:ln w="19050" cap="flat" cmpd="sng" algn="ctr">
              <a:solidFill>
                <a:srgbClr val="13376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200" b="0" i="0" u="none" strike="noStrike" kern="0" cap="none" spc="0" normalizeH="0" baseline="0" noProof="0">
                <a:ln>
                  <a:noFill/>
                </a:ln>
                <a:solidFill>
                  <a:srgbClr val="003882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9A31FA6B-8691-48D6-B011-736732E07D1C}"/>
                </a:ext>
              </a:extLst>
            </p:cNvPr>
            <p:cNvSpPr txBox="1"/>
            <p:nvPr/>
          </p:nvSpPr>
          <p:spPr>
            <a:xfrm>
              <a:off x="2081323" y="4786833"/>
              <a:ext cx="1389738" cy="10499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0821A"/>
                  </a:solidFill>
                  <a:effectLst/>
                  <a:uLnTx/>
                  <a:uFillTx/>
                </a:rPr>
                <a:t>gemeinsame Beschulungs-möglichkeit mit Koch/Köchin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ABF83E51-C236-4ABF-90EB-C063107FA537}"/>
                </a:ext>
              </a:extLst>
            </p:cNvPr>
            <p:cNvSpPr/>
            <p:nvPr/>
          </p:nvSpPr>
          <p:spPr bwMode="auto">
            <a:xfrm>
              <a:off x="2375525" y="3338621"/>
              <a:ext cx="1080000" cy="360040"/>
            </a:xfrm>
            <a:prstGeom prst="rect">
              <a:avLst/>
            </a:prstGeom>
            <a:solidFill>
              <a:srgbClr val="133769"/>
            </a:solidFill>
            <a:ln>
              <a:solidFill>
                <a:srgbClr val="133769"/>
              </a:solidFill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AP/Teil 1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E682CE76-D982-4682-92A4-1AFEC317A2D2}"/>
                </a:ext>
              </a:extLst>
            </p:cNvPr>
            <p:cNvSpPr/>
            <p:nvPr/>
          </p:nvSpPr>
          <p:spPr bwMode="auto">
            <a:xfrm>
              <a:off x="3993102" y="3359902"/>
              <a:ext cx="1080000" cy="36004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AP/Teil 1</a:t>
              </a: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06279AED-DFE0-4282-BB6C-4F6E494E1DBD}"/>
                </a:ext>
              </a:extLst>
            </p:cNvPr>
            <p:cNvSpPr/>
            <p:nvPr/>
          </p:nvSpPr>
          <p:spPr bwMode="auto">
            <a:xfrm>
              <a:off x="5613102" y="3356050"/>
              <a:ext cx="1080000" cy="36004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AP/Teil 1</a:t>
              </a: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7A4BA4D1-B0CB-46A5-AF0D-2B7D9CE88B65}"/>
                </a:ext>
              </a:extLst>
            </p:cNvPr>
            <p:cNvSpPr/>
            <p:nvPr/>
          </p:nvSpPr>
          <p:spPr bwMode="auto">
            <a:xfrm>
              <a:off x="7225839" y="3329533"/>
              <a:ext cx="1080000" cy="36004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Teil 1</a:t>
              </a: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B33EE5D8-86E7-4ADE-A147-C3541AB20E0B}"/>
                </a:ext>
              </a:extLst>
            </p:cNvPr>
            <p:cNvSpPr/>
            <p:nvPr/>
          </p:nvSpPr>
          <p:spPr bwMode="auto">
            <a:xfrm>
              <a:off x="8857948" y="3322033"/>
              <a:ext cx="1080000" cy="36004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Teil 1</a:t>
              </a:r>
            </a:p>
          </p:txBody>
        </p: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E6AD3705-4156-407E-843D-149EB4C1A41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837948" y="3304632"/>
              <a:ext cx="1617577" cy="0"/>
            </a:xfrm>
            <a:prstGeom prst="line">
              <a:avLst/>
            </a:prstGeom>
            <a:noFill/>
            <a:ln w="19050" cap="flat" cmpd="sng" algn="ctr">
              <a:solidFill>
                <a:srgbClr val="13376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2F33BDC9-CC35-48F3-966C-DBD9260CB40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320371" y="3295135"/>
              <a:ext cx="1617577" cy="0"/>
            </a:xfrm>
            <a:prstGeom prst="line">
              <a:avLst/>
            </a:prstGeom>
            <a:noFill/>
            <a:ln w="19050" cap="flat" cmpd="sng" algn="ctr">
              <a:solidFill>
                <a:srgbClr val="13376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8C0B7F53-B7DC-47A8-BB12-9EBD2194CC3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708411" y="3295135"/>
              <a:ext cx="1645362" cy="0"/>
            </a:xfrm>
            <a:prstGeom prst="line">
              <a:avLst/>
            </a:prstGeom>
            <a:noFill/>
            <a:ln w="19050" cap="flat" cmpd="sng" algn="ctr">
              <a:solidFill>
                <a:srgbClr val="13376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42719991-D969-4D7E-A2FA-93D6580EFE22}"/>
                </a:ext>
              </a:extLst>
            </p:cNvPr>
            <p:cNvSpPr txBox="1"/>
            <p:nvPr/>
          </p:nvSpPr>
          <p:spPr>
            <a:xfrm>
              <a:off x="7055905" y="5186304"/>
              <a:ext cx="2466735" cy="6222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1001">
              <a:schemeClr val="lt2"/>
            </a:fillRef>
            <a:effectRef idx="0">
              <a:scrgbClr r="0" g="0" b="0"/>
            </a:effectRef>
            <a:fontRef idx="major"/>
          </p:style>
          <p:txBody>
            <a:bodyPr wrap="square" rtlCol="0">
              <a:spAutoFit/>
            </a:bodyPr>
            <a:lstStyle/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882"/>
                  </a:solidFill>
                  <a:effectLst/>
                  <a:uLnTx/>
                  <a:uFillTx/>
                  <a:latin typeface="Segoe UI Semilight"/>
                </a:rPr>
                <a:t> </a:t>
              </a: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0821A"/>
                  </a:solidFill>
                  <a:effectLst/>
                  <a:uLnTx/>
                  <a:uFillTx/>
                </a:rPr>
                <a:t>zwei Jahre gemeinsame </a:t>
              </a:r>
            </a:p>
            <a:p>
              <a:pPr marL="0" marR="0" lvl="0" indent="0" algn="ctr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0821A"/>
                  </a:solidFill>
                  <a:effectLst/>
                  <a:uLnTx/>
                  <a:uFillTx/>
                </a:rPr>
                <a:t>Beschulungsmöglichkeit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63476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27">
            <a:extLst>
              <a:ext uri="{FF2B5EF4-FFF2-40B4-BE49-F238E27FC236}">
                <a16:creationId xmlns:a16="http://schemas.microsoft.com/office/drawing/2014/main" id="{C0AF431C-2056-459D-9A4E-F465C9A51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400266"/>
            <a:ext cx="7110000" cy="246221"/>
          </a:xfrm>
        </p:spPr>
        <p:txBody>
          <a:bodyPr/>
          <a:lstStyle/>
          <a:p>
            <a:r>
              <a:rPr lang="de-DE" b="1" dirty="0"/>
              <a:t>Integrativ zu vermittelnde Kenntnisse, Fertigkeiten und Fähigkeiten</a:t>
            </a:r>
            <a:r>
              <a:rPr lang="de-DE" dirty="0"/>
              <a:t>	</a:t>
            </a:r>
          </a:p>
        </p:txBody>
      </p:sp>
      <p:pic>
        <p:nvPicPr>
          <p:cNvPr id="32" name="Inhaltsplatzhalter 31">
            <a:extLst>
              <a:ext uri="{FF2B5EF4-FFF2-40B4-BE49-F238E27FC236}">
                <a16:creationId xmlns:a16="http://schemas.microsoft.com/office/drawing/2014/main" id="{E1B55C86-20D9-49D1-860B-5D321E01E25F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49263" y="1449134"/>
            <a:ext cx="8108383" cy="2371550"/>
          </a:xfrm>
        </p:spPr>
      </p:pic>
    </p:spTree>
    <p:extLst>
      <p:ext uri="{BB962C8B-B14F-4D97-AF65-F5344CB8AC3E}">
        <p14:creationId xmlns:p14="http://schemas.microsoft.com/office/powerpoint/2010/main" val="2138791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27">
            <a:extLst>
              <a:ext uri="{FF2B5EF4-FFF2-40B4-BE49-F238E27FC236}">
                <a16:creationId xmlns:a16="http://schemas.microsoft.com/office/drawing/2014/main" id="{C0AF431C-2056-459D-9A4E-F465C9A51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400266"/>
            <a:ext cx="7110000" cy="246221"/>
          </a:xfrm>
        </p:spPr>
        <p:txBody>
          <a:bodyPr/>
          <a:lstStyle/>
          <a:p>
            <a:r>
              <a:rPr lang="de-DE" b="1" dirty="0"/>
              <a:t>Ausbildungsinhalte Fachkraft Küche</a:t>
            </a:r>
            <a:r>
              <a:rPr lang="de-DE" dirty="0"/>
              <a:t>	</a:t>
            </a:r>
          </a:p>
        </p:txBody>
      </p:sp>
      <p:pic>
        <p:nvPicPr>
          <p:cNvPr id="14" name="Inhaltsplatzhalter 13">
            <a:extLst>
              <a:ext uri="{FF2B5EF4-FFF2-40B4-BE49-F238E27FC236}">
                <a16:creationId xmlns:a16="http://schemas.microsoft.com/office/drawing/2014/main" id="{E7447810-B1E6-49D7-8424-8C5CC73392E3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449263" y="1060123"/>
            <a:ext cx="7542212" cy="3714568"/>
          </a:xfr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6E2A3911-3D76-4F81-895A-C834844F7ABF}"/>
              </a:ext>
            </a:extLst>
          </p:cNvPr>
          <p:cNvSpPr txBox="1"/>
          <p:nvPr/>
        </p:nvSpPr>
        <p:spPr>
          <a:xfrm>
            <a:off x="6562725" y="4774691"/>
            <a:ext cx="1428750" cy="25391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/>
            <a:r>
              <a:rPr lang="de-DE" sz="1050" b="1" dirty="0"/>
              <a:t>+ … = 2. Jahr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D0D3AA4-2EDE-4475-AFB3-D66072923E3C}"/>
              </a:ext>
            </a:extLst>
          </p:cNvPr>
          <p:cNvSpPr txBox="1"/>
          <p:nvPr/>
        </p:nvSpPr>
        <p:spPr>
          <a:xfrm>
            <a:off x="7991475" y="2906486"/>
            <a:ext cx="238125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/>
            <a:r>
              <a:rPr lang="de-DE" dirty="0"/>
              <a:t>*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8FBE581-A6F6-4314-957B-E289886CDF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3007" y="2321792"/>
            <a:ext cx="377985" cy="49991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68306E3-5D64-4257-8633-F3A9CC862E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1545" y="3799375"/>
            <a:ext cx="377985" cy="49991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98D997A-2485-45D1-9C20-68C1FD61B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1545" y="4688412"/>
            <a:ext cx="377985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311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27">
            <a:extLst>
              <a:ext uri="{FF2B5EF4-FFF2-40B4-BE49-F238E27FC236}">
                <a16:creationId xmlns:a16="http://schemas.microsoft.com/office/drawing/2014/main" id="{C0AF431C-2056-459D-9A4E-F465C9A51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400266"/>
            <a:ext cx="7110000" cy="246221"/>
          </a:xfrm>
        </p:spPr>
        <p:txBody>
          <a:bodyPr/>
          <a:lstStyle/>
          <a:p>
            <a:r>
              <a:rPr lang="de-DE" b="1" dirty="0"/>
              <a:t>Ausbildungsinhalte Fachkraft Küche</a:t>
            </a:r>
            <a:r>
              <a:rPr lang="de-DE" dirty="0"/>
              <a:t>	</a:t>
            </a:r>
          </a:p>
        </p:txBody>
      </p:sp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E6039990-31B4-46B1-B088-4F21F99A1153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399173" y="1187331"/>
            <a:ext cx="7785267" cy="2017951"/>
          </a:xfr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80C395E6-B1C7-40A7-B16F-8026BB7AB885}"/>
              </a:ext>
            </a:extLst>
          </p:cNvPr>
          <p:cNvSpPr txBox="1"/>
          <p:nvPr/>
        </p:nvSpPr>
        <p:spPr>
          <a:xfrm>
            <a:off x="6732000" y="3305119"/>
            <a:ext cx="1428750" cy="25391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/>
            <a:r>
              <a:rPr lang="de-DE" sz="1050" b="1" dirty="0"/>
              <a:t>+ … = 1. Jahr</a:t>
            </a:r>
          </a:p>
        </p:txBody>
      </p:sp>
    </p:spTree>
    <p:extLst>
      <p:ext uri="{BB962C8B-B14F-4D97-AF65-F5344CB8AC3E}">
        <p14:creationId xmlns:p14="http://schemas.microsoft.com/office/powerpoint/2010/main" val="4266067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27">
            <a:extLst>
              <a:ext uri="{FF2B5EF4-FFF2-40B4-BE49-F238E27FC236}">
                <a16:creationId xmlns:a16="http://schemas.microsoft.com/office/drawing/2014/main" id="{C0AF431C-2056-459D-9A4E-F465C9A51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400266"/>
            <a:ext cx="7110000" cy="246221"/>
          </a:xfrm>
        </p:spPr>
        <p:txBody>
          <a:bodyPr/>
          <a:lstStyle/>
          <a:p>
            <a:r>
              <a:rPr lang="de-DE" b="1" dirty="0"/>
              <a:t>Ausbildungsinhalte Fachkraft Küche</a:t>
            </a:r>
            <a:r>
              <a:rPr lang="de-DE" dirty="0"/>
              <a:t>	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70ED22D2-7DF0-4A51-A50F-35F39BDB64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7407227"/>
              </p:ext>
            </p:extLst>
          </p:nvPr>
        </p:nvGraphicFramePr>
        <p:xfrm>
          <a:off x="449263" y="1239838"/>
          <a:ext cx="7747357" cy="894316"/>
        </p:xfrm>
        <a:graphic>
          <a:graphicData uri="http://schemas.openxmlformats.org/drawingml/2006/table">
            <a:tbl>
              <a:tblPr firstRow="1" bandRow="1"/>
              <a:tblGrid>
                <a:gridCol w="381378">
                  <a:extLst>
                    <a:ext uri="{9D8B030D-6E8A-4147-A177-3AD203B41FA5}">
                      <a16:colId xmlns:a16="http://schemas.microsoft.com/office/drawing/2014/main" val="1270861989"/>
                    </a:ext>
                  </a:extLst>
                </a:gridCol>
                <a:gridCol w="5917323">
                  <a:extLst>
                    <a:ext uri="{9D8B030D-6E8A-4147-A177-3AD203B41FA5}">
                      <a16:colId xmlns:a16="http://schemas.microsoft.com/office/drawing/2014/main" val="693624993"/>
                    </a:ext>
                  </a:extLst>
                </a:gridCol>
                <a:gridCol w="1448656">
                  <a:extLst>
                    <a:ext uri="{9D8B030D-6E8A-4147-A177-3AD203B41FA5}">
                      <a16:colId xmlns:a16="http://schemas.microsoft.com/office/drawing/2014/main" val="3022921581"/>
                    </a:ext>
                  </a:extLst>
                </a:gridCol>
              </a:tblGrid>
              <a:tr h="372564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de-DE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4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400" dirty="0"/>
                        <a:t>Zweites Ausbildungsjah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4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de-DE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1079451"/>
                  </a:ext>
                </a:extLst>
              </a:tr>
              <a:tr h="521752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de-DE" sz="1400" dirty="0">
                          <a:solidFill>
                            <a:schemeClr val="tx1">
                              <a:lumMod val="10000"/>
                            </a:schemeClr>
                          </a:solidFill>
                        </a:rPr>
                        <a:t>8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400" dirty="0">
                          <a:solidFill>
                            <a:schemeClr val="tx1">
                              <a:lumMod val="10000"/>
                            </a:schemeClr>
                          </a:solidFill>
                        </a:rPr>
                        <a:t>Zubereitung von </a:t>
                      </a:r>
                      <a:r>
                        <a:rPr lang="de-DE" sz="1400" dirty="0">
                          <a:solidFill>
                            <a:schemeClr val="tx1">
                              <a:lumMod val="10000"/>
                            </a:schemeClr>
                          </a:solidFill>
                          <a:highlight>
                            <a:srgbClr val="FFFF00"/>
                          </a:highlight>
                        </a:rPr>
                        <a:t>einfachen</a:t>
                      </a:r>
                      <a:r>
                        <a:rPr lang="de-DE" sz="1400" dirty="0">
                          <a:solidFill>
                            <a:schemeClr val="tx1">
                              <a:lumMod val="10000"/>
                            </a:schemeClr>
                          </a:solidFill>
                        </a:rPr>
                        <a:t> Suppen, Soßen und Eintöpfen</a:t>
                      </a:r>
                    </a:p>
                    <a:p>
                      <a:endParaRPr lang="de-DE" sz="1400" dirty="0">
                        <a:solidFill>
                          <a:schemeClr val="tx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>
                              <a:lumMod val="10000"/>
                            </a:schemeClr>
                          </a:solidFill>
                        </a:rPr>
                        <a:t>16 + 4 Wochen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>
                        <a:solidFill>
                          <a:schemeClr val="tx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D4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327931"/>
                  </a:ext>
                </a:extLst>
              </a:tr>
            </a:tbl>
          </a:graphicData>
        </a:graphic>
      </p:graphicFrame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AA737A80-350F-49F2-86C9-B62AE16BCA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0334910"/>
              </p:ext>
            </p:extLst>
          </p:nvPr>
        </p:nvGraphicFramePr>
        <p:xfrm>
          <a:off x="449263" y="2245931"/>
          <a:ext cx="7747357" cy="1999499"/>
        </p:xfrm>
        <a:graphic>
          <a:graphicData uri="http://schemas.openxmlformats.org/drawingml/2006/table">
            <a:tbl>
              <a:tblPr firstRow="1" bandRow="1" bandCol="1"/>
              <a:tblGrid>
                <a:gridCol w="7747357">
                  <a:extLst>
                    <a:ext uri="{9D8B030D-6E8A-4147-A177-3AD203B41FA5}">
                      <a16:colId xmlns:a16="http://schemas.microsoft.com/office/drawing/2014/main" val="1166068901"/>
                    </a:ext>
                  </a:extLst>
                </a:gridCol>
              </a:tblGrid>
              <a:tr h="389597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ts val="1050"/>
                        </a:lnSpc>
                        <a:spcAft>
                          <a:spcPts val="525"/>
                        </a:spcAft>
                        <a:buSzPts val="900"/>
                        <a:buFont typeface="Arial" panose="020B0604020202020204" pitchFamily="34" charset="0"/>
                        <a:buNone/>
                        <a:tabLst>
                          <a:tab pos="180340" algn="l"/>
                          <a:tab pos="269875" algn="l"/>
                        </a:tabLst>
                      </a:pPr>
                      <a:r>
                        <a:rPr lang="de-DE" sz="14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) Brühen und Fonds herstellen</a:t>
                      </a:r>
                    </a:p>
                  </a:txBody>
                  <a:tcPr marL="53975" marR="53975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6080798"/>
                  </a:ext>
                </a:extLst>
              </a:tr>
              <a:tr h="389597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ts val="1050"/>
                        </a:lnSpc>
                        <a:spcAft>
                          <a:spcPts val="525"/>
                        </a:spcAft>
                        <a:buSzPts val="900"/>
                        <a:buFont typeface="Arial" panose="020B0604020202020204" pitchFamily="34" charset="0"/>
                        <a:buNone/>
                        <a:tabLst>
                          <a:tab pos="180340" algn="l"/>
                          <a:tab pos="269875" algn="l"/>
                        </a:tabLst>
                      </a:pPr>
                      <a:r>
                        <a:rPr lang="de-DE" sz="14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) gebundene Suppen, Rahmsuppen und Püreesuppen zubereiten</a:t>
                      </a:r>
                    </a:p>
                  </a:txBody>
                  <a:tcPr marL="53975" marR="53975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8024276"/>
                  </a:ext>
                </a:extLst>
              </a:tr>
              <a:tr h="389597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ts val="1050"/>
                        </a:lnSpc>
                        <a:spcAft>
                          <a:spcPts val="525"/>
                        </a:spcAft>
                        <a:buSzPts val="900"/>
                        <a:buFont typeface="Arial" panose="020B0604020202020204" pitchFamily="34" charset="0"/>
                        <a:buNone/>
                        <a:tabLst>
                          <a:tab pos="180340" algn="l"/>
                          <a:tab pos="269875" algn="l"/>
                        </a:tabLst>
                      </a:pPr>
                      <a:r>
                        <a:rPr lang="de-DE" sz="14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) Gemüsesoßen, insbesondere Tomatensoße, zubereiten</a:t>
                      </a:r>
                    </a:p>
                  </a:txBody>
                  <a:tcPr marL="53975" marR="53975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3645140"/>
                  </a:ext>
                </a:extLst>
              </a:tr>
              <a:tr h="41535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ts val="1050"/>
                        </a:lnSpc>
                        <a:spcAft>
                          <a:spcPts val="525"/>
                        </a:spcAft>
                        <a:buSzPts val="900"/>
                        <a:buFont typeface="Arial" panose="020B0604020202020204" pitchFamily="34" charset="0"/>
                        <a:buNone/>
                        <a:tabLst>
                          <a:tab pos="180340" algn="l"/>
                          <a:tab pos="269875" algn="l"/>
                        </a:tabLst>
                      </a:pPr>
                      <a:r>
                        <a:rPr lang="de-DE" sz="14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) helle Grundsoßen, insbesondere Béchamelsoße, zubereiten</a:t>
                      </a:r>
                    </a:p>
                  </a:txBody>
                  <a:tcPr marL="53975" marR="53975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9516990"/>
                  </a:ext>
                </a:extLst>
              </a:tr>
              <a:tr h="41535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ts val="1050"/>
                        </a:lnSpc>
                        <a:spcAft>
                          <a:spcPts val="525"/>
                        </a:spcAft>
                        <a:buSzPts val="900"/>
                        <a:buFont typeface="Arial" panose="020B0604020202020204" pitchFamily="34" charset="0"/>
                        <a:buNone/>
                        <a:tabLst>
                          <a:tab pos="180340" algn="l"/>
                          <a:tab pos="269875" algn="l"/>
                        </a:tabLst>
                      </a:pPr>
                      <a:r>
                        <a:rPr lang="de-DE" sz="14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) Eintöpfe zubereiten und dabei insbesondere die jeweilige Garzeit der Zutaten berücksichtigen</a:t>
                      </a:r>
                    </a:p>
                  </a:txBody>
                  <a:tcPr marL="53975" marR="53975" marT="64770" marB="6477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99263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9921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roOkhcWrdmzHqHrI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heme/theme1.xml><?xml version="1.0" encoding="utf-8"?>
<a:theme xmlns:a="http://schemas.openxmlformats.org/drawingml/2006/main" name="IHK_Arnsberg_Master_2022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B3B2B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 smtClean="0"/>
        </a:defPPr>
      </a:lstStyle>
    </a:txDef>
  </a:objectDefaults>
  <a:extraClrSchemeLst/>
  <a:custClrLst>
    <a:custClr name="Titan 100%">
      <a:srgbClr val="575756"/>
    </a:custClr>
    <a:custClr name="Titan 80%">
      <a:srgbClr val="797978"/>
    </a:custClr>
    <a:custClr name="Titan 70%">
      <a:srgbClr val="8A8A89"/>
    </a:custClr>
    <a:custClr name="Titan 60%">
      <a:srgbClr val="9A9A9A"/>
    </a:custClr>
    <a:custClr name="Titan 50%">
      <a:srgbClr val="ABABAA"/>
    </a:custClr>
    <a:custClr name="Titan 40%">
      <a:srgbClr val="BCBCBB"/>
    </a:custClr>
    <a:custClr name="Titan 30%">
      <a:srgbClr val="CCCCCC"/>
    </a:custClr>
    <a:custClr name="Titan 20%">
      <a:srgbClr val="DDDDDD"/>
    </a:custClr>
    <a:custClr name="Titan 10%">
      <a:srgbClr val="EEEEEE"/>
    </a:custClr>
    <a:custClr name="White">
      <a:srgbClr val="FFFFFF"/>
    </a:custClr>
    <a:custClr name="Sky 100%">
      <a:srgbClr val="009ED4"/>
    </a:custClr>
    <a:custClr name="Sky 80%">
      <a:srgbClr val="33B1DD"/>
    </a:custClr>
    <a:custClr name="Sky 70%">
      <a:srgbClr val="4DBBE1"/>
    </a:custClr>
    <a:custClr name="Sky 60%">
      <a:srgbClr val="66C5E5"/>
    </a:custClr>
    <a:custClr name="Sky 50%">
      <a:srgbClr val="7FCEE9"/>
    </a:custClr>
    <a:custClr name="Sky 40%">
      <a:srgbClr val="99D8EE"/>
    </a:custClr>
    <a:custClr name="Sky 30%">
      <a:srgbClr val="B2E2F2"/>
    </a:custClr>
    <a:custClr name="Sky 20%">
      <a:srgbClr val="CCECF6"/>
    </a:custClr>
    <a:custClr name="Sky 10%">
      <a:srgbClr val="E5F5FB"/>
    </a:custClr>
    <a:custClr name="White">
      <a:srgbClr val="FFFFFF"/>
    </a:custClr>
    <a:custClr name="Ocean">
      <a:srgbClr val="003366"/>
    </a:custClr>
    <a:custClr name="Lime">
      <a:srgbClr val="76B82A"/>
    </a:custClr>
    <a:custClr name="Hibiskus">
      <a:srgbClr val="E40D2E"/>
    </a:custClr>
    <a:custClr name="Mauve">
      <a:srgbClr val="9F5098"/>
    </a:custClr>
    <a:custClr name="Mandarin">
      <a:srgbClr val="F0821A"/>
    </a:custClr>
    <a:custClr name="Sun">
      <a:srgbClr val="FFCE00"/>
    </a:custClr>
    <a:custClr name="Stone">
      <a:srgbClr val="B1B3B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993</Words>
  <Application>Microsoft Office PowerPoint</Application>
  <PresentationFormat>Bildschirmpräsentation (16:9)</PresentationFormat>
  <Paragraphs>226</Paragraphs>
  <Slides>22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7" baseType="lpstr">
      <vt:lpstr>Arial</vt:lpstr>
      <vt:lpstr>Segoe UI Semilight</vt:lpstr>
      <vt:lpstr>Wingdings</vt:lpstr>
      <vt:lpstr>IHK_Arnsberg_Master_2022</vt:lpstr>
      <vt:lpstr>think-cell Folie</vt:lpstr>
      <vt:lpstr>Neuordnung der Küchenberufe 2022</vt:lpstr>
      <vt:lpstr>Ablauf für die Vorstellung der Küchenberufe </vt:lpstr>
      <vt:lpstr>Wer saß mit am Tisch bei der Neuordnung </vt:lpstr>
      <vt:lpstr>Wesentliche Änderungen </vt:lpstr>
      <vt:lpstr>Neu: ein zweijähriger Beruf im Küchenbereich  </vt:lpstr>
      <vt:lpstr>Integrativ zu vermittelnde Kenntnisse, Fertigkeiten und Fähigkeiten </vt:lpstr>
      <vt:lpstr>Ausbildungsinhalte Fachkraft Küche </vt:lpstr>
      <vt:lpstr>Ausbildungsinhalte Fachkraft Küche </vt:lpstr>
      <vt:lpstr>Ausbildungsinhalte Fachkraft Küche </vt:lpstr>
      <vt:lpstr>Ausbildungsinhalte Koch/Köchin </vt:lpstr>
      <vt:lpstr>Ausbildungsinhalte Koch/Köchin  </vt:lpstr>
      <vt:lpstr> geänderte Formulierungen </vt:lpstr>
      <vt:lpstr>Zusatzqualifikation: Vertiefung vegetarische und vegane Küche   </vt:lpstr>
      <vt:lpstr>Prüfungen Fachkraft Küche </vt:lpstr>
      <vt:lpstr>Prüfungen Fachkraft Küche: ZP</vt:lpstr>
      <vt:lpstr>Prüfungen Fachkraft Küche: AP</vt:lpstr>
      <vt:lpstr>Prüfungen Fachkraft Küche: AP</vt:lpstr>
      <vt:lpstr>Prüfungen Koch/Köchin </vt:lpstr>
      <vt:lpstr>Prüfungen Koch/Köchin</vt:lpstr>
      <vt:lpstr>Prüfungen Koch/Köchin</vt:lpstr>
      <vt:lpstr>Zutaten für eine erfolgreiche Ausbildung    </vt:lpstr>
      <vt:lpstr>Zu guter Letzt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aulina Haeutle | i-pointing</dc:creator>
  <cp:lastModifiedBy>Rademacher, Angela</cp:lastModifiedBy>
  <cp:revision>178</cp:revision>
  <cp:lastPrinted>2020-07-13T13:33:26Z</cp:lastPrinted>
  <dcterms:created xsi:type="dcterms:W3CDTF">2020-02-03T10:15:21Z</dcterms:created>
  <dcterms:modified xsi:type="dcterms:W3CDTF">2022-04-27T07:41:02Z</dcterms:modified>
</cp:coreProperties>
</file>